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50" r:id="rId5"/>
    <p:sldMasterId id="2147483652" r:id="rId6"/>
    <p:sldMasterId id="2147483654" r:id="rId7"/>
  </p:sldMasterIdLst>
  <p:notesMasterIdLst>
    <p:notesMasterId r:id="rId17"/>
  </p:notesMasterIdLst>
  <p:handoutMasterIdLst>
    <p:handoutMasterId r:id="rId18"/>
  </p:handoutMasterIdLst>
  <p:sldIdLst>
    <p:sldId id="260" r:id="rId8"/>
    <p:sldId id="301" r:id="rId9"/>
    <p:sldId id="309" r:id="rId10"/>
    <p:sldId id="306" r:id="rId11"/>
    <p:sldId id="302" r:id="rId12"/>
    <p:sldId id="307" r:id="rId13"/>
    <p:sldId id="312" r:id="rId14"/>
    <p:sldId id="308" r:id="rId15"/>
    <p:sldId id="311" r:id="rId16"/>
  </p:sldIdLst>
  <p:sldSz cx="9144000" cy="6858000" type="screen4x3"/>
  <p:notesSz cx="6845300" cy="9982200"/>
  <p:custDataLst>
    <p:tags r:id="rId19"/>
  </p:custDataLst>
  <p:defaultTextStyle>
    <a:defPPr>
      <a:defRPr lang="sv-SE"/>
    </a:defPPr>
    <a:lvl1pPr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2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44">
          <p15:clr>
            <a:srgbClr val="A4A3A4"/>
          </p15:clr>
        </p15:guide>
        <p15:guide id="2" pos="215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7E31"/>
    <a:srgbClr val="DC9E22"/>
    <a:srgbClr val="FAB01B"/>
    <a:srgbClr val="FDCA00"/>
    <a:srgbClr val="FFD900"/>
    <a:srgbClr val="EA7F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800" autoAdjust="0"/>
    <p:restoredTop sz="94660"/>
  </p:normalViewPr>
  <p:slideViewPr>
    <p:cSldViewPr>
      <p:cViewPr varScale="1">
        <p:scale>
          <a:sx n="89" d="100"/>
          <a:sy n="89" d="100"/>
        </p:scale>
        <p:origin x="-1099" y="-67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2796"/>
    </p:cViewPr>
  </p:sorterViewPr>
  <p:notesViewPr>
    <p:cSldViewPr>
      <p:cViewPr varScale="1">
        <p:scale>
          <a:sx n="81" d="100"/>
          <a:sy n="81" d="100"/>
        </p:scale>
        <p:origin x="-3948" y="-84"/>
      </p:cViewPr>
      <p:guideLst>
        <p:guide orient="horz" pos="3144"/>
        <p:guide pos="2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1547115-A0E3-4E21-841E-4DA6B4AF7748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A70C8D02-780B-42D8-B6D6-F2A5A9B4166D}">
      <dgm:prSet phldrT="[Text]"/>
      <dgm:spPr>
        <a:solidFill>
          <a:srgbClr val="EC7E31"/>
        </a:solidFill>
      </dgm:spPr>
      <dgm:t>
        <a:bodyPr/>
        <a:lstStyle/>
        <a:p>
          <a:r>
            <a:rPr lang="sv-SE" dirty="0"/>
            <a:t>Problem-bakgrund och målgrupps-analys</a:t>
          </a:r>
        </a:p>
      </dgm:t>
    </dgm:pt>
    <dgm:pt modelId="{4AC87A36-F337-4C3F-BD8C-E78447E45F85}" type="parTrans" cxnId="{EEF1968D-F382-4B67-9445-183D42BECDA6}">
      <dgm:prSet/>
      <dgm:spPr/>
      <dgm:t>
        <a:bodyPr/>
        <a:lstStyle/>
        <a:p>
          <a:endParaRPr lang="sv-SE"/>
        </a:p>
      </dgm:t>
    </dgm:pt>
    <dgm:pt modelId="{B9D448C4-E0E4-4822-A261-D9520F145CC7}" type="sibTrans" cxnId="{EEF1968D-F382-4B67-9445-183D42BECDA6}">
      <dgm:prSet/>
      <dgm:spPr/>
      <dgm:t>
        <a:bodyPr/>
        <a:lstStyle/>
        <a:p>
          <a:endParaRPr lang="sv-SE"/>
        </a:p>
      </dgm:t>
    </dgm:pt>
    <dgm:pt modelId="{FE779EF1-149F-478D-96AA-EE31355E7252}">
      <dgm:prSet phldrT="[Text]"/>
      <dgm:spPr>
        <a:solidFill>
          <a:srgbClr val="EC7E31"/>
        </a:solidFill>
      </dgm:spPr>
      <dgm:t>
        <a:bodyPr/>
        <a:lstStyle/>
        <a:p>
          <a:r>
            <a:rPr lang="sv-SE" dirty="0"/>
            <a:t>Uppföljning</a:t>
          </a:r>
        </a:p>
      </dgm:t>
    </dgm:pt>
    <dgm:pt modelId="{8834FB79-D4FE-427D-8BF6-16433F68322A}" type="parTrans" cxnId="{F8906269-7D7C-4D87-8213-ACD9DB9B55E0}">
      <dgm:prSet/>
      <dgm:spPr/>
      <dgm:t>
        <a:bodyPr/>
        <a:lstStyle/>
        <a:p>
          <a:endParaRPr lang="sv-SE"/>
        </a:p>
      </dgm:t>
    </dgm:pt>
    <dgm:pt modelId="{EA8E1A41-B216-4D3F-A473-B9F7AAB41C6F}" type="sibTrans" cxnId="{F8906269-7D7C-4D87-8213-ACD9DB9B55E0}">
      <dgm:prSet/>
      <dgm:spPr/>
      <dgm:t>
        <a:bodyPr/>
        <a:lstStyle/>
        <a:p>
          <a:endParaRPr lang="sv-SE"/>
        </a:p>
      </dgm:t>
    </dgm:pt>
    <dgm:pt modelId="{0A157F26-B636-463F-BF30-20F3DEA98DEF}">
      <dgm:prSet phldrT="[Text]"/>
      <dgm:spPr>
        <a:solidFill>
          <a:srgbClr val="EC7E31"/>
        </a:solidFill>
      </dgm:spPr>
      <dgm:t>
        <a:bodyPr/>
        <a:lstStyle/>
        <a:p>
          <a:r>
            <a:rPr lang="sv-SE" dirty="0"/>
            <a:t>Utvärdering</a:t>
          </a:r>
        </a:p>
      </dgm:t>
    </dgm:pt>
    <dgm:pt modelId="{0933012C-0D66-42AB-A3BD-E219A5038AC9}" type="parTrans" cxnId="{B1B147D7-D2BF-4A63-BCF4-FF03CB1225CD}">
      <dgm:prSet/>
      <dgm:spPr/>
      <dgm:t>
        <a:bodyPr/>
        <a:lstStyle/>
        <a:p>
          <a:endParaRPr lang="sv-SE"/>
        </a:p>
      </dgm:t>
    </dgm:pt>
    <dgm:pt modelId="{B5891E4F-8643-4F34-AA9B-93B1F7C113C0}" type="sibTrans" cxnId="{B1B147D7-D2BF-4A63-BCF4-FF03CB1225CD}">
      <dgm:prSet/>
      <dgm:spPr/>
      <dgm:t>
        <a:bodyPr/>
        <a:lstStyle/>
        <a:p>
          <a:endParaRPr lang="sv-SE"/>
        </a:p>
      </dgm:t>
    </dgm:pt>
    <dgm:pt modelId="{159F5204-E195-455B-92D2-7FE9A0710B78}">
      <dgm:prSet/>
      <dgm:spPr>
        <a:solidFill>
          <a:srgbClr val="EC7E31"/>
        </a:solidFill>
      </dgm:spPr>
      <dgm:t>
        <a:bodyPr/>
        <a:lstStyle/>
        <a:p>
          <a:r>
            <a:rPr lang="sv-SE" dirty="0"/>
            <a:t>Identifiera målbild, sätt effektmål</a:t>
          </a:r>
        </a:p>
      </dgm:t>
    </dgm:pt>
    <dgm:pt modelId="{367A1E6D-A904-4A7D-A344-9223D29A19A2}" type="parTrans" cxnId="{3EFB8E76-89B5-4FC8-A70B-50B43FFAEBDF}">
      <dgm:prSet/>
      <dgm:spPr/>
      <dgm:t>
        <a:bodyPr/>
        <a:lstStyle/>
        <a:p>
          <a:endParaRPr lang="sv-SE"/>
        </a:p>
      </dgm:t>
    </dgm:pt>
    <dgm:pt modelId="{A2F5FCF0-14F8-4A0E-A801-96CE2879D891}" type="sibTrans" cxnId="{3EFB8E76-89B5-4FC8-A70B-50B43FFAEBDF}">
      <dgm:prSet/>
      <dgm:spPr/>
      <dgm:t>
        <a:bodyPr/>
        <a:lstStyle/>
        <a:p>
          <a:endParaRPr lang="sv-SE"/>
        </a:p>
      </dgm:t>
    </dgm:pt>
    <dgm:pt modelId="{FE56A1D2-BDE8-41E0-B9F9-FB55C760289A}">
      <dgm:prSet/>
      <dgm:spPr>
        <a:solidFill>
          <a:srgbClr val="EC7E31"/>
        </a:solidFill>
      </dgm:spPr>
      <dgm:t>
        <a:bodyPr/>
        <a:lstStyle/>
        <a:p>
          <a:r>
            <a:rPr lang="sv-SE" dirty="0"/>
            <a:t>Strategi för att nå målen: </a:t>
          </a:r>
          <a:r>
            <a:rPr lang="sv-SE" dirty="0" err="1"/>
            <a:t>kommuni-kationsmål</a:t>
          </a:r>
          <a:r>
            <a:rPr lang="sv-SE" dirty="0"/>
            <a:t> och val av aktiviteter</a:t>
          </a:r>
        </a:p>
      </dgm:t>
    </dgm:pt>
    <dgm:pt modelId="{E4191A03-FBE1-4E28-8F38-72BC32A8BB93}" type="parTrans" cxnId="{B953FD2C-0729-4009-9ED6-DA72401D747E}">
      <dgm:prSet/>
      <dgm:spPr/>
      <dgm:t>
        <a:bodyPr/>
        <a:lstStyle/>
        <a:p>
          <a:endParaRPr lang="sv-SE"/>
        </a:p>
      </dgm:t>
    </dgm:pt>
    <dgm:pt modelId="{5EE1D463-F3E1-4505-9FBC-669040F354BA}" type="sibTrans" cxnId="{B953FD2C-0729-4009-9ED6-DA72401D747E}">
      <dgm:prSet/>
      <dgm:spPr/>
      <dgm:t>
        <a:bodyPr/>
        <a:lstStyle/>
        <a:p>
          <a:endParaRPr lang="sv-SE"/>
        </a:p>
      </dgm:t>
    </dgm:pt>
    <dgm:pt modelId="{50026488-3C4F-4127-AB02-A2189D78CE4A}">
      <dgm:prSet/>
      <dgm:spPr>
        <a:solidFill>
          <a:srgbClr val="EC7E31"/>
        </a:solidFill>
      </dgm:spPr>
      <dgm:t>
        <a:bodyPr/>
        <a:lstStyle/>
        <a:p>
          <a:r>
            <a:rPr lang="sv-SE" dirty="0"/>
            <a:t>Genomförande av aktiviteter</a:t>
          </a:r>
        </a:p>
      </dgm:t>
    </dgm:pt>
    <dgm:pt modelId="{BDFDF0CF-5483-4B63-8607-C35DDECE7C11}" type="parTrans" cxnId="{141D68CC-8C21-4879-A901-BED0EA0E4985}">
      <dgm:prSet/>
      <dgm:spPr/>
      <dgm:t>
        <a:bodyPr/>
        <a:lstStyle/>
        <a:p>
          <a:endParaRPr lang="sv-SE"/>
        </a:p>
      </dgm:t>
    </dgm:pt>
    <dgm:pt modelId="{6E449B86-7CED-49A0-A4F0-6201C3E3C9CC}" type="sibTrans" cxnId="{141D68CC-8C21-4879-A901-BED0EA0E4985}">
      <dgm:prSet/>
      <dgm:spPr/>
      <dgm:t>
        <a:bodyPr/>
        <a:lstStyle/>
        <a:p>
          <a:endParaRPr lang="sv-SE"/>
        </a:p>
      </dgm:t>
    </dgm:pt>
    <dgm:pt modelId="{FF034B8E-28F5-497E-AE72-39DCF00EE254}" type="pres">
      <dgm:prSet presAssocID="{21547115-A0E3-4E21-841E-4DA6B4AF7748}" presName="Name0" presStyleCnt="0">
        <dgm:presLayoutVars>
          <dgm:dir/>
          <dgm:resizeHandles val="exact"/>
        </dgm:presLayoutVars>
      </dgm:prSet>
      <dgm:spPr/>
    </dgm:pt>
    <dgm:pt modelId="{64FC8233-3E6B-41A1-9074-9E53B571E7D2}" type="pres">
      <dgm:prSet presAssocID="{A70C8D02-780B-42D8-B6D6-F2A5A9B4166D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654A828F-1299-4E6E-A87F-5D1A010E46DC}" type="pres">
      <dgm:prSet presAssocID="{B9D448C4-E0E4-4822-A261-D9520F145CC7}" presName="sibTrans" presStyleLbl="sibTrans2D1" presStyleIdx="0" presStyleCnt="5"/>
      <dgm:spPr/>
      <dgm:t>
        <a:bodyPr/>
        <a:lstStyle/>
        <a:p>
          <a:endParaRPr lang="sv-SE"/>
        </a:p>
      </dgm:t>
    </dgm:pt>
    <dgm:pt modelId="{00009511-98B7-430C-96E4-503710E620CF}" type="pres">
      <dgm:prSet presAssocID="{B9D448C4-E0E4-4822-A261-D9520F145CC7}" presName="connectorText" presStyleLbl="sibTrans2D1" presStyleIdx="0" presStyleCnt="5"/>
      <dgm:spPr/>
      <dgm:t>
        <a:bodyPr/>
        <a:lstStyle/>
        <a:p>
          <a:endParaRPr lang="sv-SE"/>
        </a:p>
      </dgm:t>
    </dgm:pt>
    <dgm:pt modelId="{F18E66B8-7641-48AF-B0F7-1DD4BEF0A9EC}" type="pres">
      <dgm:prSet presAssocID="{159F5204-E195-455B-92D2-7FE9A0710B78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F10EBCC9-BE9C-4B14-922E-A33DF04913F7}" type="pres">
      <dgm:prSet presAssocID="{A2F5FCF0-14F8-4A0E-A801-96CE2879D891}" presName="sibTrans" presStyleLbl="sibTrans2D1" presStyleIdx="1" presStyleCnt="5"/>
      <dgm:spPr/>
      <dgm:t>
        <a:bodyPr/>
        <a:lstStyle/>
        <a:p>
          <a:endParaRPr lang="sv-SE"/>
        </a:p>
      </dgm:t>
    </dgm:pt>
    <dgm:pt modelId="{EB5EAA0D-0590-4228-AE27-873504A5F421}" type="pres">
      <dgm:prSet presAssocID="{A2F5FCF0-14F8-4A0E-A801-96CE2879D891}" presName="connectorText" presStyleLbl="sibTrans2D1" presStyleIdx="1" presStyleCnt="5"/>
      <dgm:spPr/>
      <dgm:t>
        <a:bodyPr/>
        <a:lstStyle/>
        <a:p>
          <a:endParaRPr lang="sv-SE"/>
        </a:p>
      </dgm:t>
    </dgm:pt>
    <dgm:pt modelId="{C1172970-2760-421F-99AF-73A4A24C4ECF}" type="pres">
      <dgm:prSet presAssocID="{FE56A1D2-BDE8-41E0-B9F9-FB55C760289A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A4D55300-4BCB-4ECF-ACFD-51B0AF37AC56}" type="pres">
      <dgm:prSet presAssocID="{5EE1D463-F3E1-4505-9FBC-669040F354BA}" presName="sibTrans" presStyleLbl="sibTrans2D1" presStyleIdx="2" presStyleCnt="5"/>
      <dgm:spPr/>
      <dgm:t>
        <a:bodyPr/>
        <a:lstStyle/>
        <a:p>
          <a:endParaRPr lang="sv-SE"/>
        </a:p>
      </dgm:t>
    </dgm:pt>
    <dgm:pt modelId="{029D6193-4D92-4A74-9693-84CA9DB07532}" type="pres">
      <dgm:prSet presAssocID="{5EE1D463-F3E1-4505-9FBC-669040F354BA}" presName="connectorText" presStyleLbl="sibTrans2D1" presStyleIdx="2" presStyleCnt="5"/>
      <dgm:spPr/>
      <dgm:t>
        <a:bodyPr/>
        <a:lstStyle/>
        <a:p>
          <a:endParaRPr lang="sv-SE"/>
        </a:p>
      </dgm:t>
    </dgm:pt>
    <dgm:pt modelId="{62EBB818-61DE-4102-B81A-A8C4276D9E5F}" type="pres">
      <dgm:prSet presAssocID="{50026488-3C4F-4127-AB02-A2189D78CE4A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65399B4E-2351-4FB5-927C-362081C736EF}" type="pres">
      <dgm:prSet presAssocID="{6E449B86-7CED-49A0-A4F0-6201C3E3C9CC}" presName="sibTrans" presStyleLbl="sibTrans2D1" presStyleIdx="3" presStyleCnt="5"/>
      <dgm:spPr/>
      <dgm:t>
        <a:bodyPr/>
        <a:lstStyle/>
        <a:p>
          <a:endParaRPr lang="sv-SE"/>
        </a:p>
      </dgm:t>
    </dgm:pt>
    <dgm:pt modelId="{4AA179CE-AB12-41D4-B5AF-6135C735506A}" type="pres">
      <dgm:prSet presAssocID="{6E449B86-7CED-49A0-A4F0-6201C3E3C9CC}" presName="connectorText" presStyleLbl="sibTrans2D1" presStyleIdx="3" presStyleCnt="5"/>
      <dgm:spPr/>
      <dgm:t>
        <a:bodyPr/>
        <a:lstStyle/>
        <a:p>
          <a:endParaRPr lang="sv-SE"/>
        </a:p>
      </dgm:t>
    </dgm:pt>
    <dgm:pt modelId="{50736FE9-0336-4307-95A1-2279F68EA800}" type="pres">
      <dgm:prSet presAssocID="{FE779EF1-149F-478D-96AA-EE31355E7252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B29B22CB-30B6-4E9C-A0FC-7460822FD0C1}" type="pres">
      <dgm:prSet presAssocID="{EA8E1A41-B216-4D3F-A473-B9F7AAB41C6F}" presName="sibTrans" presStyleLbl="sibTrans2D1" presStyleIdx="4" presStyleCnt="5"/>
      <dgm:spPr/>
      <dgm:t>
        <a:bodyPr/>
        <a:lstStyle/>
        <a:p>
          <a:endParaRPr lang="sv-SE"/>
        </a:p>
      </dgm:t>
    </dgm:pt>
    <dgm:pt modelId="{F62E1270-62C2-4746-9D74-40CA327B3AFB}" type="pres">
      <dgm:prSet presAssocID="{EA8E1A41-B216-4D3F-A473-B9F7AAB41C6F}" presName="connectorText" presStyleLbl="sibTrans2D1" presStyleIdx="4" presStyleCnt="5"/>
      <dgm:spPr/>
      <dgm:t>
        <a:bodyPr/>
        <a:lstStyle/>
        <a:p>
          <a:endParaRPr lang="sv-SE"/>
        </a:p>
      </dgm:t>
    </dgm:pt>
    <dgm:pt modelId="{E5B3D588-3EF0-4484-89A3-B486E2464339}" type="pres">
      <dgm:prSet presAssocID="{0A157F26-B636-463F-BF30-20F3DEA98DEF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sv-SE"/>
        </a:p>
      </dgm:t>
    </dgm:pt>
  </dgm:ptLst>
  <dgm:cxnLst>
    <dgm:cxn modelId="{E3C9B3D5-4F08-4F28-B188-CD35D6EF2AA9}" type="presOf" srcId="{EA8E1A41-B216-4D3F-A473-B9F7AAB41C6F}" destId="{F62E1270-62C2-4746-9D74-40CA327B3AFB}" srcOrd="1" destOrd="0" presId="urn:microsoft.com/office/officeart/2005/8/layout/process1"/>
    <dgm:cxn modelId="{00848123-4940-4B20-86D4-8D526F163C39}" type="presOf" srcId="{6E449B86-7CED-49A0-A4F0-6201C3E3C9CC}" destId="{4AA179CE-AB12-41D4-B5AF-6135C735506A}" srcOrd="1" destOrd="0" presId="urn:microsoft.com/office/officeart/2005/8/layout/process1"/>
    <dgm:cxn modelId="{CFA5339D-19F3-42B2-9624-BF76C317044B}" type="presOf" srcId="{50026488-3C4F-4127-AB02-A2189D78CE4A}" destId="{62EBB818-61DE-4102-B81A-A8C4276D9E5F}" srcOrd="0" destOrd="0" presId="urn:microsoft.com/office/officeart/2005/8/layout/process1"/>
    <dgm:cxn modelId="{15FCB62D-CF1A-473B-9AA9-4DEE1CDD01AF}" type="presOf" srcId="{B9D448C4-E0E4-4822-A261-D9520F145CC7}" destId="{00009511-98B7-430C-96E4-503710E620CF}" srcOrd="1" destOrd="0" presId="urn:microsoft.com/office/officeart/2005/8/layout/process1"/>
    <dgm:cxn modelId="{F8906269-7D7C-4D87-8213-ACD9DB9B55E0}" srcId="{21547115-A0E3-4E21-841E-4DA6B4AF7748}" destId="{FE779EF1-149F-478D-96AA-EE31355E7252}" srcOrd="4" destOrd="0" parTransId="{8834FB79-D4FE-427D-8BF6-16433F68322A}" sibTransId="{EA8E1A41-B216-4D3F-A473-B9F7AAB41C6F}"/>
    <dgm:cxn modelId="{1AF2A939-3618-4B69-BD94-AD4989FE333A}" type="presOf" srcId="{EA8E1A41-B216-4D3F-A473-B9F7AAB41C6F}" destId="{B29B22CB-30B6-4E9C-A0FC-7460822FD0C1}" srcOrd="0" destOrd="0" presId="urn:microsoft.com/office/officeart/2005/8/layout/process1"/>
    <dgm:cxn modelId="{796A66C4-8CC5-47CD-8CBD-722012BA1D73}" type="presOf" srcId="{21547115-A0E3-4E21-841E-4DA6B4AF7748}" destId="{FF034B8E-28F5-497E-AE72-39DCF00EE254}" srcOrd="0" destOrd="0" presId="urn:microsoft.com/office/officeart/2005/8/layout/process1"/>
    <dgm:cxn modelId="{AB0B3A72-350F-4C34-9F9B-06AA7B247627}" type="presOf" srcId="{5EE1D463-F3E1-4505-9FBC-669040F354BA}" destId="{029D6193-4D92-4A74-9693-84CA9DB07532}" srcOrd="1" destOrd="0" presId="urn:microsoft.com/office/officeart/2005/8/layout/process1"/>
    <dgm:cxn modelId="{B1B147D7-D2BF-4A63-BCF4-FF03CB1225CD}" srcId="{21547115-A0E3-4E21-841E-4DA6B4AF7748}" destId="{0A157F26-B636-463F-BF30-20F3DEA98DEF}" srcOrd="5" destOrd="0" parTransId="{0933012C-0D66-42AB-A3BD-E219A5038AC9}" sibTransId="{B5891E4F-8643-4F34-AA9B-93B1F7C113C0}"/>
    <dgm:cxn modelId="{230A54A3-3CA4-4000-A4B3-EC5EA58F1814}" type="presOf" srcId="{6E449B86-7CED-49A0-A4F0-6201C3E3C9CC}" destId="{65399B4E-2351-4FB5-927C-362081C736EF}" srcOrd="0" destOrd="0" presId="urn:microsoft.com/office/officeart/2005/8/layout/process1"/>
    <dgm:cxn modelId="{6B55E0F6-F779-434C-BA4B-B5851B47C6FE}" type="presOf" srcId="{159F5204-E195-455B-92D2-7FE9A0710B78}" destId="{F18E66B8-7641-48AF-B0F7-1DD4BEF0A9EC}" srcOrd="0" destOrd="0" presId="urn:microsoft.com/office/officeart/2005/8/layout/process1"/>
    <dgm:cxn modelId="{EEF1968D-F382-4B67-9445-183D42BECDA6}" srcId="{21547115-A0E3-4E21-841E-4DA6B4AF7748}" destId="{A70C8D02-780B-42D8-B6D6-F2A5A9B4166D}" srcOrd="0" destOrd="0" parTransId="{4AC87A36-F337-4C3F-BD8C-E78447E45F85}" sibTransId="{B9D448C4-E0E4-4822-A261-D9520F145CC7}"/>
    <dgm:cxn modelId="{82FADCF5-1D17-49F6-98A0-F566EBE5ECC7}" type="presOf" srcId="{A2F5FCF0-14F8-4A0E-A801-96CE2879D891}" destId="{EB5EAA0D-0590-4228-AE27-873504A5F421}" srcOrd="1" destOrd="0" presId="urn:microsoft.com/office/officeart/2005/8/layout/process1"/>
    <dgm:cxn modelId="{B953FD2C-0729-4009-9ED6-DA72401D747E}" srcId="{21547115-A0E3-4E21-841E-4DA6B4AF7748}" destId="{FE56A1D2-BDE8-41E0-B9F9-FB55C760289A}" srcOrd="2" destOrd="0" parTransId="{E4191A03-FBE1-4E28-8F38-72BC32A8BB93}" sibTransId="{5EE1D463-F3E1-4505-9FBC-669040F354BA}"/>
    <dgm:cxn modelId="{B0323535-168A-4884-9FF5-3826132E40B7}" type="presOf" srcId="{FE779EF1-149F-478D-96AA-EE31355E7252}" destId="{50736FE9-0336-4307-95A1-2279F68EA800}" srcOrd="0" destOrd="0" presId="urn:microsoft.com/office/officeart/2005/8/layout/process1"/>
    <dgm:cxn modelId="{51DBB77D-5E90-4F04-87C0-F4D066FB4F58}" type="presOf" srcId="{FE56A1D2-BDE8-41E0-B9F9-FB55C760289A}" destId="{C1172970-2760-421F-99AF-73A4A24C4ECF}" srcOrd="0" destOrd="0" presId="urn:microsoft.com/office/officeart/2005/8/layout/process1"/>
    <dgm:cxn modelId="{A8A498A3-13C3-484E-A060-109722D8F30D}" type="presOf" srcId="{B9D448C4-E0E4-4822-A261-D9520F145CC7}" destId="{654A828F-1299-4E6E-A87F-5D1A010E46DC}" srcOrd="0" destOrd="0" presId="urn:microsoft.com/office/officeart/2005/8/layout/process1"/>
    <dgm:cxn modelId="{D66233F9-A9F7-4A16-BB77-14C28F243CA4}" type="presOf" srcId="{5EE1D463-F3E1-4505-9FBC-669040F354BA}" destId="{A4D55300-4BCB-4ECF-ACFD-51B0AF37AC56}" srcOrd="0" destOrd="0" presId="urn:microsoft.com/office/officeart/2005/8/layout/process1"/>
    <dgm:cxn modelId="{E79EFBF4-9B67-4E41-983F-A4D254A695F5}" type="presOf" srcId="{A2F5FCF0-14F8-4A0E-A801-96CE2879D891}" destId="{F10EBCC9-BE9C-4B14-922E-A33DF04913F7}" srcOrd="0" destOrd="0" presId="urn:microsoft.com/office/officeart/2005/8/layout/process1"/>
    <dgm:cxn modelId="{AD152DB3-0C97-4B12-98F8-23BC3FE35DD4}" type="presOf" srcId="{A70C8D02-780B-42D8-B6D6-F2A5A9B4166D}" destId="{64FC8233-3E6B-41A1-9074-9E53B571E7D2}" srcOrd="0" destOrd="0" presId="urn:microsoft.com/office/officeart/2005/8/layout/process1"/>
    <dgm:cxn modelId="{141D68CC-8C21-4879-A901-BED0EA0E4985}" srcId="{21547115-A0E3-4E21-841E-4DA6B4AF7748}" destId="{50026488-3C4F-4127-AB02-A2189D78CE4A}" srcOrd="3" destOrd="0" parTransId="{BDFDF0CF-5483-4B63-8607-C35DDECE7C11}" sibTransId="{6E449B86-7CED-49A0-A4F0-6201C3E3C9CC}"/>
    <dgm:cxn modelId="{8F08A2BB-B234-4A53-94CE-CDE011F02C2B}" type="presOf" srcId="{0A157F26-B636-463F-BF30-20F3DEA98DEF}" destId="{E5B3D588-3EF0-4484-89A3-B486E2464339}" srcOrd="0" destOrd="0" presId="urn:microsoft.com/office/officeart/2005/8/layout/process1"/>
    <dgm:cxn modelId="{3EFB8E76-89B5-4FC8-A70B-50B43FFAEBDF}" srcId="{21547115-A0E3-4E21-841E-4DA6B4AF7748}" destId="{159F5204-E195-455B-92D2-7FE9A0710B78}" srcOrd="1" destOrd="0" parTransId="{367A1E6D-A904-4A7D-A344-9223D29A19A2}" sibTransId="{A2F5FCF0-14F8-4A0E-A801-96CE2879D891}"/>
    <dgm:cxn modelId="{E2830094-41D2-4B27-94BC-F7860555DFB1}" type="presParOf" srcId="{FF034B8E-28F5-497E-AE72-39DCF00EE254}" destId="{64FC8233-3E6B-41A1-9074-9E53B571E7D2}" srcOrd="0" destOrd="0" presId="urn:microsoft.com/office/officeart/2005/8/layout/process1"/>
    <dgm:cxn modelId="{C936FBD1-F961-4395-8719-22B5D1DB5E5E}" type="presParOf" srcId="{FF034B8E-28F5-497E-AE72-39DCF00EE254}" destId="{654A828F-1299-4E6E-A87F-5D1A010E46DC}" srcOrd="1" destOrd="0" presId="urn:microsoft.com/office/officeart/2005/8/layout/process1"/>
    <dgm:cxn modelId="{4C7A4207-8275-41A6-AF78-BF948EB758C0}" type="presParOf" srcId="{654A828F-1299-4E6E-A87F-5D1A010E46DC}" destId="{00009511-98B7-430C-96E4-503710E620CF}" srcOrd="0" destOrd="0" presId="urn:microsoft.com/office/officeart/2005/8/layout/process1"/>
    <dgm:cxn modelId="{49A5DCC5-55F3-4DB0-8650-3EC968BCE20F}" type="presParOf" srcId="{FF034B8E-28F5-497E-AE72-39DCF00EE254}" destId="{F18E66B8-7641-48AF-B0F7-1DD4BEF0A9EC}" srcOrd="2" destOrd="0" presId="urn:microsoft.com/office/officeart/2005/8/layout/process1"/>
    <dgm:cxn modelId="{30B0D0CA-53B2-40D6-9D7F-A3126B1E93B2}" type="presParOf" srcId="{FF034B8E-28F5-497E-AE72-39DCF00EE254}" destId="{F10EBCC9-BE9C-4B14-922E-A33DF04913F7}" srcOrd="3" destOrd="0" presId="urn:microsoft.com/office/officeart/2005/8/layout/process1"/>
    <dgm:cxn modelId="{3387B052-8F66-453B-8F1E-B408F4EA0A4D}" type="presParOf" srcId="{F10EBCC9-BE9C-4B14-922E-A33DF04913F7}" destId="{EB5EAA0D-0590-4228-AE27-873504A5F421}" srcOrd="0" destOrd="0" presId="urn:microsoft.com/office/officeart/2005/8/layout/process1"/>
    <dgm:cxn modelId="{66C021A9-C55E-459F-81D8-0AF82A233970}" type="presParOf" srcId="{FF034B8E-28F5-497E-AE72-39DCF00EE254}" destId="{C1172970-2760-421F-99AF-73A4A24C4ECF}" srcOrd="4" destOrd="0" presId="urn:microsoft.com/office/officeart/2005/8/layout/process1"/>
    <dgm:cxn modelId="{2547C557-2643-4362-BE1A-D4AE6E05212D}" type="presParOf" srcId="{FF034B8E-28F5-497E-AE72-39DCF00EE254}" destId="{A4D55300-4BCB-4ECF-ACFD-51B0AF37AC56}" srcOrd="5" destOrd="0" presId="urn:microsoft.com/office/officeart/2005/8/layout/process1"/>
    <dgm:cxn modelId="{4CBC886A-8753-44BD-807C-70F9501A552D}" type="presParOf" srcId="{A4D55300-4BCB-4ECF-ACFD-51B0AF37AC56}" destId="{029D6193-4D92-4A74-9693-84CA9DB07532}" srcOrd="0" destOrd="0" presId="urn:microsoft.com/office/officeart/2005/8/layout/process1"/>
    <dgm:cxn modelId="{60789C39-6ED4-4FD3-B7AB-E8AF36CBDA92}" type="presParOf" srcId="{FF034B8E-28F5-497E-AE72-39DCF00EE254}" destId="{62EBB818-61DE-4102-B81A-A8C4276D9E5F}" srcOrd="6" destOrd="0" presId="urn:microsoft.com/office/officeart/2005/8/layout/process1"/>
    <dgm:cxn modelId="{F7A28DB2-877B-4810-9386-9A188C3D16D2}" type="presParOf" srcId="{FF034B8E-28F5-497E-AE72-39DCF00EE254}" destId="{65399B4E-2351-4FB5-927C-362081C736EF}" srcOrd="7" destOrd="0" presId="urn:microsoft.com/office/officeart/2005/8/layout/process1"/>
    <dgm:cxn modelId="{7A02F790-4F69-4ACC-ACE4-62E85ABB67F7}" type="presParOf" srcId="{65399B4E-2351-4FB5-927C-362081C736EF}" destId="{4AA179CE-AB12-41D4-B5AF-6135C735506A}" srcOrd="0" destOrd="0" presId="urn:microsoft.com/office/officeart/2005/8/layout/process1"/>
    <dgm:cxn modelId="{00AF621E-BCC0-4D5D-9967-2E2FBFA91395}" type="presParOf" srcId="{FF034B8E-28F5-497E-AE72-39DCF00EE254}" destId="{50736FE9-0336-4307-95A1-2279F68EA800}" srcOrd="8" destOrd="0" presId="urn:microsoft.com/office/officeart/2005/8/layout/process1"/>
    <dgm:cxn modelId="{AB9BBF10-B3DE-4315-AD72-3DCCA825C999}" type="presParOf" srcId="{FF034B8E-28F5-497E-AE72-39DCF00EE254}" destId="{B29B22CB-30B6-4E9C-A0FC-7460822FD0C1}" srcOrd="9" destOrd="0" presId="urn:microsoft.com/office/officeart/2005/8/layout/process1"/>
    <dgm:cxn modelId="{24E6FA7A-6F70-417E-9328-FA80CC011D79}" type="presParOf" srcId="{B29B22CB-30B6-4E9C-A0FC-7460822FD0C1}" destId="{F62E1270-62C2-4746-9D74-40CA327B3AFB}" srcOrd="0" destOrd="0" presId="urn:microsoft.com/office/officeart/2005/8/layout/process1"/>
    <dgm:cxn modelId="{EBF169F4-3597-405C-A120-78E3993BFB80}" type="presParOf" srcId="{FF034B8E-28F5-497E-AE72-39DCF00EE254}" destId="{E5B3D588-3EF0-4484-89A3-B486E2464339}" srcOrd="1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FC8233-3E6B-41A1-9074-9E53B571E7D2}">
      <dsp:nvSpPr>
        <dsp:cNvPr id="0" name=""/>
        <dsp:cNvSpPr/>
      </dsp:nvSpPr>
      <dsp:spPr>
        <a:xfrm>
          <a:off x="0" y="1792544"/>
          <a:ext cx="946243" cy="723266"/>
        </a:xfrm>
        <a:prstGeom prst="roundRect">
          <a:avLst>
            <a:gd name="adj" fmla="val 10000"/>
          </a:avLst>
        </a:prstGeom>
        <a:solidFill>
          <a:srgbClr val="EC7E3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900" kern="1200" dirty="0"/>
            <a:t>Problem-bakgrund och målgrupps-analys</a:t>
          </a:r>
        </a:p>
      </dsp:txBody>
      <dsp:txXfrm>
        <a:off x="21184" y="1813728"/>
        <a:ext cx="903875" cy="680898"/>
      </dsp:txXfrm>
    </dsp:sp>
    <dsp:sp modelId="{654A828F-1299-4E6E-A87F-5D1A010E46DC}">
      <dsp:nvSpPr>
        <dsp:cNvPr id="0" name=""/>
        <dsp:cNvSpPr/>
      </dsp:nvSpPr>
      <dsp:spPr>
        <a:xfrm>
          <a:off x="1040867" y="2036843"/>
          <a:ext cx="200603" cy="23466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sv-SE" sz="800" kern="1200"/>
        </a:p>
      </dsp:txBody>
      <dsp:txXfrm>
        <a:off x="1040867" y="2083777"/>
        <a:ext cx="140422" cy="140800"/>
      </dsp:txXfrm>
    </dsp:sp>
    <dsp:sp modelId="{F18E66B8-7641-48AF-B0F7-1DD4BEF0A9EC}">
      <dsp:nvSpPr>
        <dsp:cNvPr id="0" name=""/>
        <dsp:cNvSpPr/>
      </dsp:nvSpPr>
      <dsp:spPr>
        <a:xfrm>
          <a:off x="1324740" y="1792544"/>
          <a:ext cx="946243" cy="723266"/>
        </a:xfrm>
        <a:prstGeom prst="roundRect">
          <a:avLst>
            <a:gd name="adj" fmla="val 10000"/>
          </a:avLst>
        </a:prstGeom>
        <a:solidFill>
          <a:srgbClr val="EC7E3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900" kern="1200" dirty="0"/>
            <a:t>Identifiera målbild, sätt effektmål</a:t>
          </a:r>
        </a:p>
      </dsp:txBody>
      <dsp:txXfrm>
        <a:off x="1345924" y="1813728"/>
        <a:ext cx="903875" cy="680898"/>
      </dsp:txXfrm>
    </dsp:sp>
    <dsp:sp modelId="{F10EBCC9-BE9C-4B14-922E-A33DF04913F7}">
      <dsp:nvSpPr>
        <dsp:cNvPr id="0" name=""/>
        <dsp:cNvSpPr/>
      </dsp:nvSpPr>
      <dsp:spPr>
        <a:xfrm>
          <a:off x="2365607" y="2036843"/>
          <a:ext cx="200603" cy="23466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sv-SE" sz="800" kern="1200"/>
        </a:p>
      </dsp:txBody>
      <dsp:txXfrm>
        <a:off x="2365607" y="2083777"/>
        <a:ext cx="140422" cy="140800"/>
      </dsp:txXfrm>
    </dsp:sp>
    <dsp:sp modelId="{C1172970-2760-421F-99AF-73A4A24C4ECF}">
      <dsp:nvSpPr>
        <dsp:cNvPr id="0" name=""/>
        <dsp:cNvSpPr/>
      </dsp:nvSpPr>
      <dsp:spPr>
        <a:xfrm>
          <a:off x="2649480" y="1792544"/>
          <a:ext cx="946243" cy="723266"/>
        </a:xfrm>
        <a:prstGeom prst="roundRect">
          <a:avLst>
            <a:gd name="adj" fmla="val 10000"/>
          </a:avLst>
        </a:prstGeom>
        <a:solidFill>
          <a:srgbClr val="EC7E3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900" kern="1200" dirty="0"/>
            <a:t>Strategi för att nå målen: </a:t>
          </a:r>
          <a:r>
            <a:rPr lang="sv-SE" sz="900" kern="1200" dirty="0" err="1"/>
            <a:t>kommuni-kationsmål</a:t>
          </a:r>
          <a:r>
            <a:rPr lang="sv-SE" sz="900" kern="1200" dirty="0"/>
            <a:t> och val av aktiviteter</a:t>
          </a:r>
        </a:p>
      </dsp:txBody>
      <dsp:txXfrm>
        <a:off x="2670664" y="1813728"/>
        <a:ext cx="903875" cy="680898"/>
      </dsp:txXfrm>
    </dsp:sp>
    <dsp:sp modelId="{A4D55300-4BCB-4ECF-ACFD-51B0AF37AC56}">
      <dsp:nvSpPr>
        <dsp:cNvPr id="0" name=""/>
        <dsp:cNvSpPr/>
      </dsp:nvSpPr>
      <dsp:spPr>
        <a:xfrm>
          <a:off x="3690347" y="2036843"/>
          <a:ext cx="200603" cy="23466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sv-SE" sz="800" kern="1200"/>
        </a:p>
      </dsp:txBody>
      <dsp:txXfrm>
        <a:off x="3690347" y="2083777"/>
        <a:ext cx="140422" cy="140800"/>
      </dsp:txXfrm>
    </dsp:sp>
    <dsp:sp modelId="{62EBB818-61DE-4102-B81A-A8C4276D9E5F}">
      <dsp:nvSpPr>
        <dsp:cNvPr id="0" name=""/>
        <dsp:cNvSpPr/>
      </dsp:nvSpPr>
      <dsp:spPr>
        <a:xfrm>
          <a:off x="3974220" y="1792544"/>
          <a:ext cx="946243" cy="723266"/>
        </a:xfrm>
        <a:prstGeom prst="roundRect">
          <a:avLst>
            <a:gd name="adj" fmla="val 10000"/>
          </a:avLst>
        </a:prstGeom>
        <a:solidFill>
          <a:srgbClr val="EC7E3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900" kern="1200" dirty="0"/>
            <a:t>Genomförande av aktiviteter</a:t>
          </a:r>
        </a:p>
      </dsp:txBody>
      <dsp:txXfrm>
        <a:off x="3995404" y="1813728"/>
        <a:ext cx="903875" cy="680898"/>
      </dsp:txXfrm>
    </dsp:sp>
    <dsp:sp modelId="{65399B4E-2351-4FB5-927C-362081C736EF}">
      <dsp:nvSpPr>
        <dsp:cNvPr id="0" name=""/>
        <dsp:cNvSpPr/>
      </dsp:nvSpPr>
      <dsp:spPr>
        <a:xfrm>
          <a:off x="5015087" y="2036843"/>
          <a:ext cx="200603" cy="23466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sv-SE" sz="800" kern="1200"/>
        </a:p>
      </dsp:txBody>
      <dsp:txXfrm>
        <a:off x="5015087" y="2083777"/>
        <a:ext cx="140422" cy="140800"/>
      </dsp:txXfrm>
    </dsp:sp>
    <dsp:sp modelId="{50736FE9-0336-4307-95A1-2279F68EA800}">
      <dsp:nvSpPr>
        <dsp:cNvPr id="0" name=""/>
        <dsp:cNvSpPr/>
      </dsp:nvSpPr>
      <dsp:spPr>
        <a:xfrm>
          <a:off x="5298960" y="1792544"/>
          <a:ext cx="946243" cy="723266"/>
        </a:xfrm>
        <a:prstGeom prst="roundRect">
          <a:avLst>
            <a:gd name="adj" fmla="val 10000"/>
          </a:avLst>
        </a:prstGeom>
        <a:solidFill>
          <a:srgbClr val="EC7E3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900" kern="1200" dirty="0"/>
            <a:t>Uppföljning</a:t>
          </a:r>
        </a:p>
      </dsp:txBody>
      <dsp:txXfrm>
        <a:off x="5320144" y="1813728"/>
        <a:ext cx="903875" cy="680898"/>
      </dsp:txXfrm>
    </dsp:sp>
    <dsp:sp modelId="{B29B22CB-30B6-4E9C-A0FC-7460822FD0C1}">
      <dsp:nvSpPr>
        <dsp:cNvPr id="0" name=""/>
        <dsp:cNvSpPr/>
      </dsp:nvSpPr>
      <dsp:spPr>
        <a:xfrm>
          <a:off x="6339828" y="2036843"/>
          <a:ext cx="200603" cy="23466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sv-SE" sz="800" kern="1200"/>
        </a:p>
      </dsp:txBody>
      <dsp:txXfrm>
        <a:off x="6339828" y="2083777"/>
        <a:ext cx="140422" cy="140800"/>
      </dsp:txXfrm>
    </dsp:sp>
    <dsp:sp modelId="{E5B3D588-3EF0-4484-89A3-B486E2464339}">
      <dsp:nvSpPr>
        <dsp:cNvPr id="0" name=""/>
        <dsp:cNvSpPr/>
      </dsp:nvSpPr>
      <dsp:spPr>
        <a:xfrm>
          <a:off x="6623701" y="1792544"/>
          <a:ext cx="946243" cy="723266"/>
        </a:xfrm>
        <a:prstGeom prst="roundRect">
          <a:avLst>
            <a:gd name="adj" fmla="val 10000"/>
          </a:avLst>
        </a:prstGeom>
        <a:solidFill>
          <a:srgbClr val="EC7E3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900" kern="1200" dirty="0"/>
            <a:t>Utvärdering</a:t>
          </a:r>
        </a:p>
      </dsp:txBody>
      <dsp:txXfrm>
        <a:off x="6644885" y="1813728"/>
        <a:ext cx="903875" cy="68089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67038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18" charset="0"/>
              </a:defRPr>
            </a:lvl1pPr>
          </a:lstStyle>
          <a:p>
            <a:endParaRPr lang="sv-SE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78263" y="0"/>
            <a:ext cx="2967037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</a:defRPr>
            </a:lvl1pPr>
          </a:lstStyle>
          <a:p>
            <a:endParaRPr lang="sv-SE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83725"/>
            <a:ext cx="2967038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18" charset="0"/>
              </a:defRPr>
            </a:lvl1pPr>
          </a:lstStyle>
          <a:p>
            <a:endParaRPr lang="sv-SE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78263" y="9483725"/>
            <a:ext cx="2967037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</a:defRPr>
            </a:lvl1pPr>
          </a:lstStyle>
          <a:p>
            <a:fld id="{4099CC03-0A68-4FE0-901C-BABC70936B6A}" type="slidenum">
              <a:rPr lang="sv-SE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60229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3074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18" charset="0"/>
              </a:defRPr>
            </a:lvl1pPr>
          </a:lstStyle>
          <a:p>
            <a:endParaRPr lang="sv-SE"/>
          </a:p>
        </p:txBody>
      </p:sp>
      <p:sp>
        <p:nvSpPr>
          <p:cNvPr id="18435" name="Rectangle 3075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</a:defRPr>
            </a:lvl1pPr>
          </a:lstStyle>
          <a:p>
            <a:endParaRPr lang="sv-SE"/>
          </a:p>
        </p:txBody>
      </p:sp>
      <p:sp>
        <p:nvSpPr>
          <p:cNvPr id="18436" name="Rectangle 3076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39800" y="762000"/>
            <a:ext cx="4978400" cy="37338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8437" name="Rectangle 3077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724400"/>
            <a:ext cx="502920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8438" name="Rectangle 3078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8800"/>
            <a:ext cx="2971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18" charset="0"/>
              </a:defRPr>
            </a:lvl1pPr>
          </a:lstStyle>
          <a:p>
            <a:endParaRPr lang="sv-SE"/>
          </a:p>
        </p:txBody>
      </p:sp>
      <p:sp>
        <p:nvSpPr>
          <p:cNvPr id="18439" name="Rectangle 3079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9448800"/>
            <a:ext cx="2971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</a:defRPr>
            </a:lvl1pPr>
          </a:lstStyle>
          <a:p>
            <a:fld id="{3FEE2625-1DD8-4C13-A5BB-5C2E4DEB1102}" type="slidenum">
              <a:rPr lang="sv-SE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8888842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EE2625-1DD8-4C13-A5BB-5C2E4DEB1102}" type="slidenum">
              <a:rPr lang="sv-SE" smtClean="0">
                <a:solidFill>
                  <a:prstClr val="black"/>
                </a:solidFill>
              </a:rPr>
              <a:pPr/>
              <a:t>1</a:t>
            </a:fld>
            <a:endParaRPr lang="sv-S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6144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048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sv-SE" altLang="sv-SE"/>
          </a:p>
        </p:txBody>
      </p:sp>
      <p:sp>
        <p:nvSpPr>
          <p:cNvPr id="2048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F1C0E64C-53BB-4CC4-95A5-0C9469B6777C}" type="slidenum">
              <a:rPr lang="sv-SE" altLang="sv-SE" sz="1200" smtClean="0">
                <a:latin typeface="Times New Roman" panose="02020603050405020304" pitchFamily="18" charset="0"/>
              </a:rPr>
              <a:pPr/>
              <a:t>6</a:t>
            </a:fld>
            <a:endParaRPr lang="sv-SE" altLang="sv-SE" sz="120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34566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50F7A7-DA63-4A74-9242-8131DBB6E085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594615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200400" y="188913"/>
            <a:ext cx="5715000" cy="2055812"/>
          </a:xfrm>
        </p:spPr>
        <p:txBody>
          <a:bodyPr anchor="b"/>
          <a:lstStyle>
            <a:lvl1pPr>
              <a:defRPr b="0">
                <a:latin typeface="Arial Black" pitchFamily="34" charset="0"/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200400" y="2667000"/>
            <a:ext cx="5715000" cy="2971800"/>
          </a:xfrm>
          <a:noFill/>
        </p:spPr>
        <p:txBody>
          <a:bodyPr lIns="0" tIns="0" rIns="0" bIns="0"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här för att ändra format på underrubrik i bakgrunden</a:t>
            </a:r>
          </a:p>
        </p:txBody>
      </p:sp>
      <p:sp>
        <p:nvSpPr>
          <p:cNvPr id="15364" name="Rectangle 4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01CBA474-F9D6-49A5-ABE8-16828E6B12A0}" type="slidenum">
              <a:rPr lang="sv-SE"/>
              <a:pPr/>
              <a:t>‹#›</a:t>
            </a:fld>
            <a:endParaRPr lang="sv-SE"/>
          </a:p>
        </p:txBody>
      </p:sp>
      <p:sp>
        <p:nvSpPr>
          <p:cNvPr id="15367" name="Rectangle 7"/>
          <p:cNvSpPr>
            <a:spLocks noChangeArrowheads="1"/>
          </p:cNvSpPr>
          <p:nvPr/>
        </p:nvSpPr>
        <p:spPr bwMode="auto">
          <a:xfrm>
            <a:off x="0" y="0"/>
            <a:ext cx="2879725" cy="2159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/>
          <a:lstStyle/>
          <a:p>
            <a:pPr algn="r">
              <a:lnSpc>
                <a:spcPts val="1400"/>
              </a:lnSpc>
            </a:pPr>
            <a:r>
              <a:rPr lang="sv-SE" sz="1000"/>
              <a:t> </a:t>
            </a:r>
            <a:endParaRPr lang="sv-SE" sz="2400">
              <a:latin typeface="Times New Roman" pitchFamily="18" charset="0"/>
            </a:endParaRPr>
          </a:p>
        </p:txBody>
      </p:sp>
      <p:pic>
        <p:nvPicPr>
          <p:cNvPr id="15371" name="Picture 11" descr="lig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850" y="6253163"/>
            <a:ext cx="1619250" cy="344487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98AEE8C-A199-41A7-B184-28B82AFCAA48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6484938" y="571500"/>
            <a:ext cx="1906587" cy="5378450"/>
          </a:xfrm>
        </p:spPr>
        <p:txBody>
          <a:bodyPr vert="eaVert"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762000" y="571500"/>
            <a:ext cx="5570538" cy="5378450"/>
          </a:xfrm>
        </p:spPr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386317E-04A6-4579-8EF4-5144A4F297E5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7" name="Rectangle 7"/>
          <p:cNvSpPr>
            <a:spLocks noGrp="1" noChangeArrowheads="1"/>
          </p:cNvSpPr>
          <p:nvPr>
            <p:ph type="ctrTitle"/>
          </p:nvPr>
        </p:nvSpPr>
        <p:spPr>
          <a:xfrm>
            <a:off x="3203575" y="188913"/>
            <a:ext cx="5715000" cy="2055812"/>
          </a:xfrm>
        </p:spPr>
        <p:txBody>
          <a:bodyPr anchor="b"/>
          <a:lstStyle>
            <a:lvl1pPr>
              <a:defRPr>
                <a:latin typeface="Arial Black" pitchFamily="34" charset="0"/>
              </a:defRPr>
            </a:lvl1pPr>
          </a:lstStyle>
          <a:p>
            <a:r>
              <a:rPr lang="sv-SE"/>
              <a:t>Klicka här för att ändra format på bakgrundsrubriken</a:t>
            </a:r>
          </a:p>
        </p:txBody>
      </p:sp>
      <p:sp>
        <p:nvSpPr>
          <p:cNvPr id="56328" name="Rectangle 8"/>
          <p:cNvSpPr>
            <a:spLocks noGrp="1" noChangeArrowheads="1"/>
          </p:cNvSpPr>
          <p:nvPr>
            <p:ph type="subTitle" idx="1"/>
          </p:nvPr>
        </p:nvSpPr>
        <p:spPr>
          <a:xfrm>
            <a:off x="3200400" y="2667000"/>
            <a:ext cx="5715000" cy="29718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här för att ändra format på underrubrik i bakgrunden</a:t>
            </a:r>
          </a:p>
        </p:txBody>
      </p:sp>
      <p:sp>
        <p:nvSpPr>
          <p:cNvPr id="56329" name="Rectangle 9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56330" name="Rectangle 10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E6A16ED3-43AA-42FD-B03D-1C542D37AD70}" type="slidenum">
              <a:rPr lang="sv-SE"/>
              <a:pPr/>
              <a:t>‹#›</a:t>
            </a:fld>
            <a:endParaRPr lang="sv-SE"/>
          </a:p>
        </p:txBody>
      </p:sp>
      <p:sp>
        <p:nvSpPr>
          <p:cNvPr id="56331" name="Rectangle 11"/>
          <p:cNvSpPr>
            <a:spLocks noChangeArrowheads="1"/>
          </p:cNvSpPr>
          <p:nvPr userDrawn="1"/>
        </p:nvSpPr>
        <p:spPr bwMode="auto">
          <a:xfrm>
            <a:off x="0" y="0"/>
            <a:ext cx="2879725" cy="2159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/>
          <a:lstStyle/>
          <a:p>
            <a:pPr algn="r">
              <a:lnSpc>
                <a:spcPts val="1400"/>
              </a:lnSpc>
            </a:pPr>
            <a:r>
              <a:rPr lang="sv-SE" sz="1000"/>
              <a:t> </a:t>
            </a:r>
            <a:endParaRPr lang="sv-SE" sz="2400">
              <a:latin typeface="Times New Roman" pitchFamily="18" charset="0"/>
            </a:endParaRPr>
          </a:p>
        </p:txBody>
      </p:sp>
      <p:pic>
        <p:nvPicPr>
          <p:cNvPr id="56332" name="Picture 12" descr="lig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850" y="6253163"/>
            <a:ext cx="1619250" cy="344487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B022CF4-6C19-4A3A-BC03-E4C52FDFA96C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698188EC-6209-488B-88C5-106600E68BC3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762000" y="1773238"/>
            <a:ext cx="3738563" cy="41767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652963" y="1773238"/>
            <a:ext cx="3738562" cy="41767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1A842FB-563A-4F48-97E8-6486700E14E5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8" name="Platshållare för bildnumm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F09D053-0DD1-4455-919E-B92BF389C5FC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208601C-223C-4704-9DD8-968F10FCE3EF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0FF09FB-1CD1-4F17-9157-097B64E35455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E31E0D18-3350-416B-928E-D89821124115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BA58008-0BF1-4306-8D2F-666B0748070A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9C564CB-5E64-4631-A6CA-8050EB111D9E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5086152-3C2A-494B-8C5F-6BB65B3CDD7A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6484938" y="571500"/>
            <a:ext cx="1906587" cy="5378450"/>
          </a:xfrm>
        </p:spPr>
        <p:txBody>
          <a:bodyPr vert="eaVert"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762000" y="571500"/>
            <a:ext cx="5570538" cy="5378450"/>
          </a:xfrm>
        </p:spPr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6CDD70FF-7B75-45BF-8294-77977B1AA2DE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200400" y="188913"/>
            <a:ext cx="5715000" cy="2055812"/>
          </a:xfrm>
        </p:spPr>
        <p:txBody>
          <a:bodyPr anchor="b"/>
          <a:lstStyle>
            <a:lvl1pPr>
              <a:defRPr b="0">
                <a:latin typeface="Arial Black" pitchFamily="34" charset="0"/>
              </a:defRPr>
            </a:lvl1pPr>
          </a:lstStyle>
          <a:p>
            <a:r>
              <a:rPr lang="sv-SE"/>
              <a:t>Klicka här för att ändra format på bakgrundsrubriken</a:t>
            </a:r>
          </a:p>
        </p:txBody>
      </p:sp>
      <p:sp>
        <p:nvSpPr>
          <p:cNvPr id="583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200400" y="2667000"/>
            <a:ext cx="5715000" cy="2971800"/>
          </a:xfrm>
          <a:noFill/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sv-SE"/>
              <a:t>Klicka här för att ändra format på underrubrik i bakgrunden</a:t>
            </a:r>
          </a:p>
        </p:txBody>
      </p:sp>
      <p:sp>
        <p:nvSpPr>
          <p:cNvPr id="58372" name="Rectangle 4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58373" name="Rectangle 5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70320FC7-5F3F-4362-835B-9498AB82E242}" type="slidenum">
              <a:rPr lang="sv-SE"/>
              <a:pPr/>
              <a:t>‹#›</a:t>
            </a:fld>
            <a:endParaRPr lang="sv-SE"/>
          </a:p>
        </p:txBody>
      </p:sp>
      <p:sp>
        <p:nvSpPr>
          <p:cNvPr id="58374" name="Rectangle 6"/>
          <p:cNvSpPr>
            <a:spLocks noChangeArrowheads="1"/>
          </p:cNvSpPr>
          <p:nvPr/>
        </p:nvSpPr>
        <p:spPr bwMode="auto">
          <a:xfrm>
            <a:off x="0" y="0"/>
            <a:ext cx="2879725" cy="2159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/>
          <a:lstStyle/>
          <a:p>
            <a:pPr algn="r">
              <a:lnSpc>
                <a:spcPts val="1400"/>
              </a:lnSpc>
            </a:pPr>
            <a:r>
              <a:rPr lang="sv-SE" sz="1000"/>
              <a:t> </a:t>
            </a:r>
            <a:endParaRPr lang="sv-SE" sz="2400">
              <a:latin typeface="Times New Roman" pitchFamily="18" charset="0"/>
            </a:endParaRPr>
          </a:p>
        </p:txBody>
      </p:sp>
      <p:pic>
        <p:nvPicPr>
          <p:cNvPr id="58375" name="Picture 7" descr="lig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850" y="6253163"/>
            <a:ext cx="1619250" cy="344487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ABBEF0F-B67F-4A34-A14E-790531287C6A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C14D232-1CB6-4303-845D-3EFB901354D9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762000" y="1773238"/>
            <a:ext cx="3738563" cy="41767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652963" y="1773238"/>
            <a:ext cx="3738562" cy="41767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C398347-77D5-4A33-BF17-66A9E5D03A22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8" name="Platshållare för bildnumm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206D869-202C-49A8-A00D-7624EB6C38B1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EE708F95-A36C-41A9-99CC-B9B45EA9DA1D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F0476A4B-A93F-46E7-B0E0-5626BD646006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54DC7B7-A412-447E-815F-17DFA7FF51CE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5A6EDBE5-BBEC-4B6C-B644-5C75DAF50BAD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E530F24D-E04C-4993-AC75-D729C7F86043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5B13093-A715-4553-8CF6-0B0997A24D25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6484938" y="571500"/>
            <a:ext cx="1906587" cy="5378450"/>
          </a:xfrm>
        </p:spPr>
        <p:txBody>
          <a:bodyPr vert="eaVert"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762000" y="571500"/>
            <a:ext cx="5570538" cy="5378450"/>
          </a:xfrm>
        </p:spPr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C2FD554-2400-4952-9795-5E03F488F083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200400" y="188913"/>
            <a:ext cx="5715000" cy="2055812"/>
          </a:xfrm>
        </p:spPr>
        <p:txBody>
          <a:bodyPr anchor="b"/>
          <a:lstStyle>
            <a:lvl1pPr>
              <a:defRPr>
                <a:latin typeface="Arial Black" pitchFamily="34" charset="0"/>
              </a:defRPr>
            </a:lvl1pPr>
          </a:lstStyle>
          <a:p>
            <a:r>
              <a:rPr lang="sv-SE"/>
              <a:t>Klicka här för att ändra format på bakgrundsrubriken</a:t>
            </a:r>
          </a:p>
        </p:txBody>
      </p:sp>
      <p:sp>
        <p:nvSpPr>
          <p:cNvPr id="604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200400" y="2667000"/>
            <a:ext cx="5715000" cy="2971800"/>
          </a:xfrm>
        </p:spPr>
        <p:txBody>
          <a:bodyPr/>
          <a:lstStyle>
            <a:lvl1pPr>
              <a:defRPr/>
            </a:lvl1pPr>
          </a:lstStyle>
          <a:p>
            <a:r>
              <a:rPr lang="sv-SE"/>
              <a:t>Klicka här för att ändra format på underrubrik i bakgrunden</a:t>
            </a:r>
          </a:p>
        </p:txBody>
      </p:sp>
      <p:sp>
        <p:nvSpPr>
          <p:cNvPr id="60420" name="Rectangle 4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60421" name="Rectangle 5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FBDB2A49-E5F2-411E-94C9-87C735C5EF5D}" type="slidenum">
              <a:rPr lang="sv-SE"/>
              <a:pPr/>
              <a:t>‹#›</a:t>
            </a:fld>
            <a:endParaRPr lang="sv-SE"/>
          </a:p>
        </p:txBody>
      </p:sp>
      <p:sp>
        <p:nvSpPr>
          <p:cNvPr id="60422" name="Rectangle 6"/>
          <p:cNvSpPr>
            <a:spLocks noChangeArrowheads="1"/>
          </p:cNvSpPr>
          <p:nvPr userDrawn="1"/>
        </p:nvSpPr>
        <p:spPr bwMode="auto">
          <a:xfrm>
            <a:off x="0" y="0"/>
            <a:ext cx="2879725" cy="2159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/>
          <a:lstStyle/>
          <a:p>
            <a:pPr algn="r">
              <a:lnSpc>
                <a:spcPts val="1400"/>
              </a:lnSpc>
            </a:pPr>
            <a:r>
              <a:rPr lang="sv-SE" sz="1000"/>
              <a:t> </a:t>
            </a:r>
            <a:endParaRPr lang="sv-SE" sz="2400">
              <a:latin typeface="Times New Roman" pitchFamily="18" charset="0"/>
            </a:endParaRPr>
          </a:p>
        </p:txBody>
      </p:sp>
      <p:pic>
        <p:nvPicPr>
          <p:cNvPr id="60423" name="Picture 7" descr="lig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850" y="6253163"/>
            <a:ext cx="1619250" cy="344487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E6C654D4-8A27-4758-A9BC-636492DB8B18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DFF63DF-0099-48BA-9031-C3B22A552C0C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762000" y="1773238"/>
            <a:ext cx="3738563" cy="41767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652963" y="1773238"/>
            <a:ext cx="3738562" cy="41767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41C9C77-ECEA-43D2-8550-7DB8DC394F2E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8" name="Platshållare för bildnumm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A85D1E9-DA66-4090-AAEA-46C443F7A089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15F013B-8AFD-451A-8EA5-F43D555E8597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762000" y="1773238"/>
            <a:ext cx="3738563" cy="41767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652963" y="1773238"/>
            <a:ext cx="3738562" cy="41767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B3B8F09-21C9-4403-923D-6CB7BC6E6896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FFC11D7A-CCC3-4783-9B18-064D1EE5C115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F3CC805-3480-47DC-89EF-7766A887B906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6827991-29C4-4838-9D7C-BF09F1D87EB8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E2EB069A-BDCE-47DF-9ADF-613F059D6EA6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6484938" y="571500"/>
            <a:ext cx="1906587" cy="5378450"/>
          </a:xfrm>
        </p:spPr>
        <p:txBody>
          <a:bodyPr vert="eaVert"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762000" y="571500"/>
            <a:ext cx="5570538" cy="5378450"/>
          </a:xfrm>
        </p:spPr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C0919D4-BA05-4F16-B9BA-A8C3D63D99B7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8" name="Platshållare för bildnumm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58AEE777-A868-443A-9B51-D6EA928838C2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A1584BA-F058-4897-B5B0-1A9226C6C7F3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F92CFF1-EA48-489B-A3DA-ECB9E3DC7D2A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780C6B9F-4789-48C3-B15E-AFC729782AE8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88C8B8E-3BE3-42D1-9E4D-4ACCCFA11A10}" type="slidenum">
              <a:rPr lang="sv-SE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62000" y="571500"/>
            <a:ext cx="7629525" cy="985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/>
              <a:t>Klicka här för att ändra format på bakgrundsrubrik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2000" y="1773238"/>
            <a:ext cx="7629525" cy="4176712"/>
          </a:xfrm>
          <a:prstGeom prst="rect">
            <a:avLst/>
          </a:prstGeom>
          <a:solidFill>
            <a:schemeClr val="accent1">
              <a:alpha val="2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80000" tIns="180000" rIns="180000" bIns="108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</p:txBody>
      </p:sp>
      <p:pic>
        <p:nvPicPr>
          <p:cNvPr id="1037" name="Picture 13" descr="lig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23850" y="6253163"/>
            <a:ext cx="1619250" cy="344487"/>
          </a:xfrm>
          <a:prstGeom prst="rect">
            <a:avLst/>
          </a:prstGeom>
          <a:noFill/>
        </p:spPr>
      </p:pic>
      <p:sp>
        <p:nvSpPr>
          <p:cNvPr id="1040" name="Rectangle 1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198813" y="6164263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endParaRPr lang="sv-SE"/>
          </a:p>
        </p:txBody>
      </p:sp>
      <p:sp>
        <p:nvSpPr>
          <p:cNvPr id="1041" name="Rectangle 1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124700" y="6164263"/>
            <a:ext cx="17716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fld id="{679C96E5-2C98-4EAF-A68C-B4C04A74483A}" type="slidenum">
              <a:rPr lang="sv-SE"/>
              <a:pPr/>
              <a:t>‹#›</a:t>
            </a:fld>
            <a:endParaRPr lang="sv-S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65" r:id="rId11"/>
  </p:sldLayoutIdLst>
  <p:txStyles>
    <p:titleStyle>
      <a:lvl1pPr algn="l" rtl="0" eaLnBrk="1" fontAlgn="base" hangingPunct="1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400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98500" indent="-354013" algn="l" rtl="0" eaLnBrk="1" fontAlgn="base" hangingPunct="1">
        <a:spcBef>
          <a:spcPct val="40000"/>
        </a:spcBef>
        <a:spcAft>
          <a:spcPct val="0"/>
        </a:spcAft>
        <a:buChar char="–"/>
        <a:defRPr sz="2600">
          <a:solidFill>
            <a:schemeClr val="tx1"/>
          </a:solidFill>
          <a:latin typeface="+mn-lt"/>
        </a:defRPr>
      </a:lvl2pPr>
      <a:lvl3pPr marL="963613" indent="-263525" algn="l" rtl="0" eaLnBrk="1" fontAlgn="base" hangingPunct="1">
        <a:spcBef>
          <a:spcPct val="4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214438" indent="-249238" algn="l" rtl="0" eaLnBrk="1" fontAlgn="base" hangingPunct="1">
        <a:spcBef>
          <a:spcPct val="40000"/>
        </a:spcBef>
        <a:spcAft>
          <a:spcPct val="0"/>
        </a:spcAft>
        <a:buChar char="-"/>
        <a:defRPr sz="22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813497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0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62000" y="571500"/>
            <a:ext cx="7629525" cy="985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/>
              <a:t>Klicka här för att ändra format på bakgrundsrubriken</a:t>
            </a:r>
          </a:p>
        </p:txBody>
      </p:sp>
      <p:sp>
        <p:nvSpPr>
          <p:cNvPr id="5120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2000" y="1773238"/>
            <a:ext cx="7629525" cy="417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</p:txBody>
      </p:sp>
      <p:pic>
        <p:nvPicPr>
          <p:cNvPr id="51204" name="Picture 4" descr="lig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323850" y="6253163"/>
            <a:ext cx="1619250" cy="344487"/>
          </a:xfrm>
          <a:prstGeom prst="rect">
            <a:avLst/>
          </a:prstGeom>
          <a:noFill/>
        </p:spPr>
      </p:pic>
      <p:sp>
        <p:nvSpPr>
          <p:cNvPr id="51205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198813" y="6164263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endParaRPr lang="sv-SE"/>
          </a:p>
        </p:txBody>
      </p:sp>
      <p:sp>
        <p:nvSpPr>
          <p:cNvPr id="5120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124700" y="6164263"/>
            <a:ext cx="17716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fld id="{4FB244A4-5FAB-41E7-8F13-75565648FC8E}" type="slidenum">
              <a:rPr lang="sv-SE"/>
              <a:pPr/>
              <a:t>‹#›</a:t>
            </a:fld>
            <a:endParaRPr lang="sv-S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</p:sldLayoutIdLst>
  <p:txStyles>
    <p:titleStyle>
      <a:lvl1pPr algn="l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2pPr>
      <a:lvl3pPr algn="l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3pPr>
      <a:lvl4pPr algn="l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4pPr>
      <a:lvl5pPr algn="l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5pPr>
      <a:lvl6pPr marL="457200" algn="l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6pPr>
      <a:lvl7pPr marL="914400" algn="l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7pPr>
      <a:lvl8pPr marL="1371600" algn="l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8pPr>
      <a:lvl9pPr marL="1828800" algn="l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400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98500" indent="-354013" algn="l" rtl="0" fontAlgn="base">
        <a:spcBef>
          <a:spcPct val="40000"/>
        </a:spcBef>
        <a:spcAft>
          <a:spcPct val="0"/>
        </a:spcAft>
        <a:buChar char="–"/>
        <a:defRPr sz="2600">
          <a:solidFill>
            <a:schemeClr val="tx1"/>
          </a:solidFill>
          <a:latin typeface="+mn-lt"/>
        </a:defRPr>
      </a:lvl2pPr>
      <a:lvl3pPr marL="963613" indent="-263525" algn="l" rtl="0" fontAlgn="base">
        <a:spcBef>
          <a:spcPct val="4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214438" indent="-249238" algn="l" rtl="0" fontAlgn="base">
        <a:spcBef>
          <a:spcPct val="40000"/>
        </a:spcBef>
        <a:spcAft>
          <a:spcPct val="0"/>
        </a:spcAft>
        <a:buChar char="-"/>
        <a:defRPr sz="22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62000" y="571500"/>
            <a:ext cx="7629525" cy="985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/>
              <a:t>Klicka här för att ändra format på bakgrundsrubriken</a:t>
            </a:r>
          </a:p>
        </p:txBody>
      </p:sp>
      <p:sp>
        <p:nvSpPr>
          <p:cNvPr id="5734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2000" y="1773238"/>
            <a:ext cx="7629525" cy="4176712"/>
          </a:xfrm>
          <a:prstGeom prst="rect">
            <a:avLst/>
          </a:prstGeom>
          <a:solidFill>
            <a:schemeClr val="accent1">
              <a:alpha val="2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80000" tIns="180000" rIns="180000" bIns="108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</p:txBody>
      </p:sp>
      <p:pic>
        <p:nvPicPr>
          <p:cNvPr id="57348" name="Picture 4" descr="lig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23850" y="6253163"/>
            <a:ext cx="1619250" cy="344487"/>
          </a:xfrm>
          <a:prstGeom prst="rect">
            <a:avLst/>
          </a:prstGeom>
          <a:noFill/>
        </p:spPr>
      </p:pic>
      <p:sp>
        <p:nvSpPr>
          <p:cNvPr id="57349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198813" y="6164263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endParaRPr lang="sv-SE"/>
          </a:p>
        </p:txBody>
      </p:sp>
      <p:sp>
        <p:nvSpPr>
          <p:cNvPr id="5735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124700" y="6164263"/>
            <a:ext cx="17716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fld id="{44A6BC71-034A-4C6B-A8E5-D27B19E7AC58}" type="slidenum">
              <a:rPr lang="sv-SE"/>
              <a:pPr/>
              <a:t>‹#›</a:t>
            </a:fld>
            <a:endParaRPr lang="sv-S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txStyles>
    <p:titleStyle>
      <a:lvl1pPr algn="l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2pPr>
      <a:lvl3pPr algn="l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3pPr>
      <a:lvl4pPr algn="l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4pPr>
      <a:lvl5pPr algn="l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5pPr>
      <a:lvl6pPr marL="457200" algn="l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6pPr>
      <a:lvl7pPr marL="914400" algn="l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7pPr>
      <a:lvl8pPr marL="1371600" algn="l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8pPr>
      <a:lvl9pPr marL="1828800" algn="l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9pPr>
    </p:titleStyle>
    <p:bodyStyle>
      <a:lvl1pPr algn="l" rtl="0" fontAlgn="base">
        <a:spcBef>
          <a:spcPct val="4000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536575" indent="6350" algn="l" rtl="0" fontAlgn="base">
        <a:spcBef>
          <a:spcPct val="40000"/>
        </a:spcBef>
        <a:spcAft>
          <a:spcPct val="0"/>
        </a:spcAft>
        <a:defRPr sz="2600">
          <a:solidFill>
            <a:schemeClr val="tx1"/>
          </a:solidFill>
          <a:latin typeface="+mn-lt"/>
        </a:defRPr>
      </a:lvl2pPr>
      <a:lvl3pPr marL="1074738" indent="1588" algn="l" rtl="0" fontAlgn="base">
        <a:spcBef>
          <a:spcPct val="40000"/>
        </a:spcBef>
        <a:spcAft>
          <a:spcPct val="0"/>
        </a:spcAft>
        <a:defRPr sz="2400">
          <a:solidFill>
            <a:schemeClr val="tx1"/>
          </a:solidFill>
          <a:latin typeface="+mn-lt"/>
        </a:defRPr>
      </a:lvl3pPr>
      <a:lvl4pPr marL="1524000" indent="4763" algn="l" rtl="0" fontAlgn="base">
        <a:spcBef>
          <a:spcPct val="40000"/>
        </a:spcBef>
        <a:spcAft>
          <a:spcPct val="0"/>
        </a:spcAft>
        <a:defRPr sz="2200">
          <a:solidFill>
            <a:schemeClr val="tx1"/>
          </a:solidFill>
          <a:latin typeface="+mn-lt"/>
        </a:defRPr>
      </a:lvl4pPr>
      <a:lvl5pPr marL="2185988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5pPr>
      <a:lvl6pPr marL="2643188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6pPr>
      <a:lvl7pPr marL="3100388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7pPr>
      <a:lvl8pPr marL="3557588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8pPr>
      <a:lvl9pPr marL="4014788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62000" y="571500"/>
            <a:ext cx="7629525" cy="985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/>
              <a:t>Klicka här för att ändra format på bakgrundsrubriken</a:t>
            </a:r>
          </a:p>
        </p:txBody>
      </p:sp>
      <p:sp>
        <p:nvSpPr>
          <p:cNvPr id="593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2000" y="1773238"/>
            <a:ext cx="7629525" cy="417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</p:txBody>
      </p:sp>
      <p:pic>
        <p:nvPicPr>
          <p:cNvPr id="59396" name="Picture 4" descr="lig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23850" y="6253163"/>
            <a:ext cx="1619250" cy="344487"/>
          </a:xfrm>
          <a:prstGeom prst="rect">
            <a:avLst/>
          </a:prstGeom>
          <a:noFill/>
        </p:spPr>
      </p:pic>
      <p:sp>
        <p:nvSpPr>
          <p:cNvPr id="5939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198813" y="6164263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endParaRPr lang="sv-SE"/>
          </a:p>
        </p:txBody>
      </p:sp>
      <p:sp>
        <p:nvSpPr>
          <p:cNvPr id="5939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124700" y="6164263"/>
            <a:ext cx="17716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fld id="{65C3C833-BD91-46FC-8987-60D772431B14}" type="slidenum">
              <a:rPr lang="sv-SE"/>
              <a:pPr/>
              <a:t>‹#›</a:t>
            </a:fld>
            <a:endParaRPr lang="sv-S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2pPr>
      <a:lvl3pPr algn="l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3pPr>
      <a:lvl4pPr algn="l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4pPr>
      <a:lvl5pPr algn="l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5pPr>
      <a:lvl6pPr marL="457200" algn="l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6pPr>
      <a:lvl7pPr marL="914400" algn="l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7pPr>
      <a:lvl8pPr marL="1371600" algn="l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8pPr>
      <a:lvl9pPr marL="1828800" algn="l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9pPr>
    </p:titleStyle>
    <p:bodyStyle>
      <a:lvl1pPr algn="l" rtl="0" fontAlgn="base">
        <a:spcBef>
          <a:spcPct val="40000"/>
        </a:spcBef>
        <a:spcAft>
          <a:spcPct val="0"/>
        </a:spcAft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536575" indent="6350" algn="l" rtl="0" fontAlgn="base">
        <a:spcBef>
          <a:spcPct val="40000"/>
        </a:spcBef>
        <a:spcAft>
          <a:spcPct val="0"/>
        </a:spcAft>
        <a:defRPr sz="2600">
          <a:solidFill>
            <a:schemeClr val="tx1"/>
          </a:solidFill>
          <a:latin typeface="+mn-lt"/>
        </a:defRPr>
      </a:lvl2pPr>
      <a:lvl3pPr marL="1074738" indent="1588" algn="l" rtl="0" fontAlgn="base">
        <a:spcBef>
          <a:spcPct val="40000"/>
        </a:spcBef>
        <a:spcAft>
          <a:spcPct val="0"/>
        </a:spcAft>
        <a:defRPr sz="2400">
          <a:solidFill>
            <a:schemeClr val="tx1"/>
          </a:solidFill>
          <a:latin typeface="+mn-lt"/>
        </a:defRPr>
      </a:lvl3pPr>
      <a:lvl4pPr marL="1524000" indent="-4763" algn="l" rtl="0" fontAlgn="base">
        <a:spcBef>
          <a:spcPct val="40000"/>
        </a:spcBef>
        <a:spcAft>
          <a:spcPct val="0"/>
        </a:spcAft>
        <a:defRPr sz="2200">
          <a:solidFill>
            <a:schemeClr val="tx1"/>
          </a:solidFill>
          <a:latin typeface="+mn-lt"/>
        </a:defRPr>
      </a:lvl4pPr>
      <a:lvl5pPr marL="2176463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5pPr>
      <a:lvl6pPr marL="2633663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6pPr>
      <a:lvl7pPr marL="3090863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7pPr>
      <a:lvl8pPr marL="3548063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8pPr>
      <a:lvl9pPr marL="4005263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9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slideLayout" Target="../slideLayouts/slideLayout13.xml"/><Relationship Id="rId7" Type="http://schemas.openxmlformats.org/officeDocument/2006/relationships/diagramLayout" Target="../diagrams/layout1.xml"/><Relationship Id="rId12" Type="http://schemas.openxmlformats.org/officeDocument/2006/relationships/image" Target="../media/image6.jpe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diagramData" Target="../diagrams/data1.xml"/><Relationship Id="rId11" Type="http://schemas.openxmlformats.org/officeDocument/2006/relationships/image" Target="../media/image5.jpeg"/><Relationship Id="rId5" Type="http://schemas.openxmlformats.org/officeDocument/2006/relationships/image" Target="../media/image2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3.bin"/><Relationship Id="rId9" Type="http://schemas.openxmlformats.org/officeDocument/2006/relationships/diagramColors" Target="../diagrams/colors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Insatsprojekt 2017</a:t>
            </a:r>
          </a:p>
        </p:txBody>
      </p:sp>
      <p:sp>
        <p:nvSpPr>
          <p:cNvPr id="45059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/>
              <a:t>Energimyndigheten</a:t>
            </a: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61" t="2260" r="47739" b="64073"/>
          <a:stretch/>
        </p:blipFill>
        <p:spPr>
          <a:xfrm>
            <a:off x="-12335" y="1"/>
            <a:ext cx="2904670" cy="2174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1388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Syfte och mål</a:t>
            </a:r>
            <a:br>
              <a:rPr lang="sv-SE" dirty="0"/>
            </a:b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just">
              <a:buNone/>
            </a:pPr>
            <a:endParaRPr lang="sv-SE" sz="1400" i="1" dirty="0"/>
          </a:p>
          <a:p>
            <a:pPr marL="0" indent="0" algn="just">
              <a:buNone/>
            </a:pPr>
            <a:r>
              <a:rPr lang="sv-SE" sz="1400" i="1" dirty="0"/>
              <a:t>Utvärderingar av energi- och klimatrådgivningen har visat på att den allmänna kännedomen om energi- och klimatrådgivningen är förhållandevis låg, att en mycket liten andel av slutmålgruppen nyttjar energi- och klimatrådgivningen, att rådgivningen varit av varierande kvalité samt att det är svårt att följa effekter från energi- och klimatrådgivningen. Med intentionen att göra energi- och klimatrådgivningen mer erkänd, möjliggöra att den nyttjas av fler, skapa något gemensamt och nationellt kunna se goda resultat och följa och aggregera upp effekterna av energi- och klimatrådgivningen fortsätter arbetsformen nationella insatsprojekt. </a:t>
            </a:r>
          </a:p>
          <a:p>
            <a:pPr marL="0" indent="0" algn="just">
              <a:buNone/>
            </a:pPr>
            <a:r>
              <a:rPr lang="sv-SE" sz="1400" i="1" dirty="0"/>
              <a:t>Insatsprojektet 2016 gav god utväxling och skalas därför upp till att under 2017 innefatta alla stödmottagare för energi- och klimatrådgivningsfunktionen. Syftet med insatsprojekten är ökad energieffektivitet och/eller byte till förnybart, kunskapsutbyte och metodutveckling, synliggörande av funktionen EKR samt ett gemensamt engagemang. </a:t>
            </a:r>
          </a:p>
        </p:txBody>
      </p:sp>
      <p:pic>
        <p:nvPicPr>
          <p:cNvPr id="4" name="Picture 2" descr="G:\Verksamhetsutveckling och stöd\Kommunikation\Gemensamma dokument\Baskommunikation\Baspresentationer om Energimyndigheten\Bas-PPT 2016\Grafik JPG 2016\Grafik JPG\A¦èrsredovisning_2015 Mönster_4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2440" y="476672"/>
            <a:ext cx="518761" cy="6225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latshållare för innehåll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504" y="1628800"/>
            <a:ext cx="262716" cy="417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42067349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Utvalda temaområden för 2017 års insatsprojek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2276872"/>
            <a:ext cx="7629525" cy="3673078"/>
          </a:xfrm>
        </p:spPr>
        <p:txBody>
          <a:bodyPr/>
          <a:lstStyle/>
          <a:p>
            <a:pPr lvl="0"/>
            <a:r>
              <a:rPr lang="sv-SE" sz="2000" dirty="0"/>
              <a:t>Solenergi</a:t>
            </a:r>
          </a:p>
          <a:p>
            <a:pPr lvl="0"/>
            <a:endParaRPr lang="sv-SE" sz="2000" dirty="0"/>
          </a:p>
          <a:p>
            <a:pPr lvl="0"/>
            <a:r>
              <a:rPr lang="sv-SE" sz="2000" dirty="0"/>
              <a:t>Belysning</a:t>
            </a:r>
          </a:p>
          <a:p>
            <a:pPr lvl="0"/>
            <a:endParaRPr lang="sv-SE" sz="2000" dirty="0"/>
          </a:p>
          <a:p>
            <a:pPr lvl="0"/>
            <a:r>
              <a:rPr lang="sv-SE" sz="2000" dirty="0"/>
              <a:t>Transporter</a:t>
            </a:r>
          </a:p>
          <a:p>
            <a:endParaRPr lang="sv-SE" sz="20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5C4A8B-80CE-41AF-9BEF-B1D9CF02D6AD}" type="datetime1">
              <a:rPr lang="sv-SE" smtClean="0"/>
              <a:t>2016-11-15</a:t>
            </a:fld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6888582" y="5650707"/>
            <a:ext cx="2057400" cy="114300"/>
          </a:xfrm>
          <a:prstGeom prst="rect">
            <a:avLst/>
          </a:prstGeom>
        </p:spPr>
        <p:txBody>
          <a:bodyPr/>
          <a:lstStyle/>
          <a:p>
            <a:fld id="{A3EAEDCA-98D4-4724-9772-C653855CA076}" type="slidenum">
              <a:rPr lang="en-GB" smtClean="0"/>
              <a:pPr/>
              <a:t>3</a:t>
            </a:fld>
            <a:endParaRPr lang="en-GB" dirty="0"/>
          </a:p>
        </p:txBody>
      </p:sp>
      <p:pic>
        <p:nvPicPr>
          <p:cNvPr id="7" name="Picture 2" descr="G:\Verksamhetsutveckling och stöd\Kommunikation\Gemensamma dokument\Baskommunikation\Baspresentationer om Energimyndigheten\Bas-PPT 2016\Grafik JPG 2016\Grafik JPG\A¦èrsredovisning_2015 Mönster_4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2440" y="476672"/>
            <a:ext cx="518761" cy="6225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latshållare för innehåll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504" y="1628800"/>
            <a:ext cx="262716" cy="417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42547245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Urval och bedömn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1" y="1340768"/>
            <a:ext cx="3377952" cy="2232248"/>
          </a:xfrm>
          <a:ln>
            <a:solidFill>
              <a:srgbClr val="EC7E31"/>
            </a:solidFill>
          </a:ln>
        </p:spPr>
        <p:txBody>
          <a:bodyPr/>
          <a:lstStyle/>
          <a:p>
            <a:pPr marL="0" indent="0">
              <a:spcAft>
                <a:spcPts val="0"/>
              </a:spcAft>
              <a:buNone/>
            </a:pPr>
            <a:r>
              <a:rPr lang="sv-SE" sz="1400" b="1" dirty="0"/>
              <a:t>Grundläggande krav</a:t>
            </a:r>
          </a:p>
          <a:p>
            <a:pPr>
              <a:spcAft>
                <a:spcPts val="0"/>
              </a:spcAft>
            </a:pPr>
            <a:r>
              <a:rPr lang="sv-SE" sz="1400" dirty="0"/>
              <a:t>Avgränsat i tid (inom ett år), syfte (tydlighet) och målgrupp </a:t>
            </a:r>
          </a:p>
          <a:p>
            <a:pPr lvl="0"/>
            <a:r>
              <a:rPr lang="sv-SE" sz="1400" dirty="0"/>
              <a:t>Väl avgränsat åtgärdsområde som rådgivningen (den som följs upp) ska ske inom</a:t>
            </a:r>
          </a:p>
          <a:p>
            <a:r>
              <a:rPr lang="sv-SE" sz="1400" dirty="0"/>
              <a:t>Att arbetet sker systematiskt och strukturerat så att lärdomar kan fångas upp och sprida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4280868" y="1340768"/>
            <a:ext cx="4395588" cy="4609182"/>
          </a:xfrm>
          <a:ln>
            <a:solidFill>
              <a:srgbClr val="EC7E3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sv-SE" sz="1400" b="1" dirty="0"/>
              <a:t>Bedömningskriterier</a:t>
            </a:r>
          </a:p>
          <a:p>
            <a:r>
              <a:rPr lang="sv-SE" sz="1400" dirty="0"/>
              <a:t>Möjlighet att på ett systematiskt sätt nå ut till målgruppen</a:t>
            </a:r>
          </a:p>
          <a:p>
            <a:r>
              <a:rPr lang="sv-SE" sz="1400" dirty="0"/>
              <a:t>Möjligheten att kunna ta återkontakt med den som erhållit rådgivningen</a:t>
            </a:r>
          </a:p>
          <a:p>
            <a:r>
              <a:rPr lang="sv-SE" sz="1400" dirty="0"/>
              <a:t>Aktiviteten ska ha potential att leda till önskvärd effekt i målgruppen, vilka i slutändan ska resultera i handling som leder till energieffektivisering eller ökad användning av förnybart</a:t>
            </a:r>
          </a:p>
          <a:p>
            <a:r>
              <a:rPr lang="sv-SE" sz="1400" dirty="0"/>
              <a:t>Utöver syftet att energieffektivisera/öka förnybaranvändningen ska projektet även ge ett eller fler andra mervärden. Exempel:</a:t>
            </a:r>
          </a:p>
          <a:p>
            <a:pPr lvl="1"/>
            <a:r>
              <a:rPr lang="sv-SE" sz="1200" dirty="0"/>
              <a:t>Nå nya målgrupper med begränsad kunskap inom området</a:t>
            </a:r>
          </a:p>
          <a:p>
            <a:pPr lvl="1"/>
            <a:r>
              <a:rPr lang="sv-SE" sz="1200" dirty="0"/>
              <a:t>Utvecklat arbetssätt (</a:t>
            </a:r>
            <a:r>
              <a:rPr lang="en-GB" sz="1200" dirty="0"/>
              <a:t>capacity building</a:t>
            </a:r>
            <a:r>
              <a:rPr lang="sv-SE" sz="1200" dirty="0"/>
              <a:t>)</a:t>
            </a:r>
          </a:p>
          <a:p>
            <a:pPr lvl="1"/>
            <a:r>
              <a:rPr lang="sv-SE" sz="1200" dirty="0"/>
              <a:t>Utveckla nya sätt att uppskatta effekter av åtgärder som inte enkelt låter sig mätas</a:t>
            </a:r>
          </a:p>
          <a:p>
            <a:pPr lvl="1"/>
            <a:r>
              <a:rPr lang="sv-SE" sz="1200" dirty="0"/>
              <a:t>Utveckla nya sätt att nå ut till olika målgrupper</a:t>
            </a:r>
          </a:p>
          <a:p>
            <a:pPr lvl="1"/>
            <a:r>
              <a:rPr lang="sv-SE" sz="1200" dirty="0"/>
              <a:t>Marknadsföring av energi- och klimatrådgivningen</a:t>
            </a:r>
          </a:p>
        </p:txBody>
      </p:sp>
      <p:pic>
        <p:nvPicPr>
          <p:cNvPr id="4" name="Picture 2" descr="G:\Verksamhetsutveckling och stöd\Kommunikation\Gemensamma dokument\Baskommunikation\Baspresentationer om Energimyndigheten\Bas-PPT 2016\Grafik JPG 2016\Grafik JPG\A¦èrsredovisning_2015 Mönster_4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2440" y="476672"/>
            <a:ext cx="518761" cy="6225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latshållare för innehåll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504" y="1628800"/>
            <a:ext cx="262716" cy="417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Content Placeholder 2"/>
          <p:cNvSpPr txBox="1">
            <a:spLocks/>
          </p:cNvSpPr>
          <p:nvPr/>
        </p:nvSpPr>
        <p:spPr bwMode="auto">
          <a:xfrm>
            <a:off x="762000" y="4221088"/>
            <a:ext cx="3377953" cy="1008112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40000"/>
              </a:spcBef>
              <a:spcAft>
                <a:spcPct val="0"/>
              </a:spcAft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98500" indent="-354013" algn="l" rtl="0" fontAlgn="base">
              <a:spcBef>
                <a:spcPct val="40000"/>
              </a:spcBef>
              <a:spcAft>
                <a:spcPct val="0"/>
              </a:spcAft>
              <a:buChar char="–"/>
              <a:defRPr sz="2400">
                <a:solidFill>
                  <a:schemeClr val="tx1"/>
                </a:solidFill>
                <a:latin typeface="+mn-lt"/>
              </a:defRPr>
            </a:lvl2pPr>
            <a:lvl3pPr marL="963613" indent="-263525" algn="l" rtl="0" fontAlgn="base">
              <a:spcBef>
                <a:spcPct val="4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1214438" indent="-249238" algn="l" rtl="0" fontAlgn="base">
              <a:spcBef>
                <a:spcPct val="40000"/>
              </a:spcBef>
              <a:spcAft>
                <a:spcPct val="0"/>
              </a:spcAft>
              <a:buChar char="-"/>
              <a:defRPr sz="18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FontTx/>
              <a:buNone/>
            </a:pPr>
            <a:r>
              <a:rPr lang="sv-SE" sz="1400" b="1" kern="0" dirty="0"/>
              <a:t>Helhetsbedömning</a:t>
            </a:r>
          </a:p>
          <a:p>
            <a:r>
              <a:rPr lang="sv-SE" sz="1400" kern="0" dirty="0"/>
              <a:t>Graden av matchningsbarhet i förhållande till de givna förutsättningar (exempelvis metodik) som föreligger</a:t>
            </a:r>
          </a:p>
        </p:txBody>
      </p:sp>
      <p:sp>
        <p:nvSpPr>
          <p:cNvPr id="8" name="Oval 7"/>
          <p:cNvSpPr/>
          <p:nvPr/>
        </p:nvSpPr>
        <p:spPr bwMode="auto">
          <a:xfrm>
            <a:off x="6991621" y="774935"/>
            <a:ext cx="1872208" cy="720626"/>
          </a:xfrm>
          <a:prstGeom prst="ellipse">
            <a:avLst/>
          </a:prstGeom>
          <a:solidFill>
            <a:schemeClr val="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edömning låg, mellan</a:t>
            </a:r>
            <a:r>
              <a:rPr kumimoji="0" lang="sv-SE" sz="12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och hög</a:t>
            </a:r>
            <a:endParaRPr kumimoji="0" lang="sv-S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91657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Urval och bedömning av funktionen insatsledn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93877" y="1916832"/>
            <a:ext cx="3882579" cy="4608512"/>
          </a:xfrm>
          <a:ln>
            <a:solidFill>
              <a:srgbClr val="EC7E31"/>
            </a:solidFill>
          </a:ln>
        </p:spPr>
        <p:txBody>
          <a:bodyPr/>
          <a:lstStyle/>
          <a:p>
            <a:pPr marL="0" indent="0">
              <a:spcAft>
                <a:spcPts val="1200"/>
              </a:spcAft>
              <a:buNone/>
            </a:pPr>
            <a:r>
              <a:rPr lang="sv-SE" sz="1600" b="1" dirty="0"/>
              <a:t>Faktorer som bedöms i dialog med sökande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sv-SE" sz="1600" dirty="0"/>
              <a:t>Ett inkluderande och engagerande ledarskap</a:t>
            </a:r>
          </a:p>
          <a:p>
            <a:pPr lvl="0">
              <a:spcBef>
                <a:spcPts val="600"/>
              </a:spcBef>
              <a:spcAft>
                <a:spcPts val="600"/>
              </a:spcAft>
            </a:pPr>
            <a:r>
              <a:rPr lang="sv-SE" sz="1600" dirty="0"/>
              <a:t>Förmåga att möjliggöra och ta tillvara på omgivningens kunskaper och kapacitet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sv-SE" sz="1600" dirty="0"/>
              <a:t>Öppensinnad och förändringsbenägen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sv-SE" sz="1600" dirty="0"/>
              <a:t>Strukturerad och processtänkande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sv-SE" sz="1600" dirty="0"/>
              <a:t>Målinriktad (även om målet ibland kan vara flytande)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sv-SE" sz="1600" dirty="0"/>
              <a:t>Förmågan att se helheten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sv-SE" sz="1600" dirty="0"/>
              <a:t>Driven, självständig  och lösningsorienterad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half" idx="2"/>
          </p:nvPr>
        </p:nvSpPr>
        <p:spPr>
          <a:xfrm>
            <a:off x="756313" y="1916832"/>
            <a:ext cx="3738562" cy="4176712"/>
          </a:xfrm>
          <a:ln>
            <a:solidFill>
              <a:srgbClr val="EC7E31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sv-SE" sz="1600" b="1" dirty="0"/>
              <a:t>Grundkrav</a:t>
            </a:r>
          </a:p>
          <a:p>
            <a:r>
              <a:rPr lang="sv-SE" sz="1600" dirty="0"/>
              <a:t>Namngiven insatsledare</a:t>
            </a:r>
          </a:p>
          <a:p>
            <a:r>
              <a:rPr lang="sv-SE" sz="1600" dirty="0"/>
              <a:t>Erfarenhet av projektledning, gärna med projektdeltagare geografiskt spridda</a:t>
            </a:r>
          </a:p>
          <a:p>
            <a:r>
              <a:rPr lang="sv-SE" sz="1600" dirty="0"/>
              <a:t>Inneha den kapacitet och tid som krävs för att driva ett så stort projekt</a:t>
            </a:r>
          </a:p>
          <a:p>
            <a:endParaRPr lang="sv-SE" sz="1600" dirty="0"/>
          </a:p>
        </p:txBody>
      </p:sp>
      <p:pic>
        <p:nvPicPr>
          <p:cNvPr id="4" name="Picture 2" descr="G:\Verksamhetsutveckling och stöd\Kommunikation\Gemensamma dokument\Baskommunikation\Baspresentationer om Energimyndigheten\Bas-PPT 2016\Grafik JPG 2016\Grafik JPG\A¦èrsredovisning_2015 Mönster_4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2440" y="476672"/>
            <a:ext cx="518761" cy="6225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latshållare för innehåll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504" y="1628800"/>
            <a:ext cx="262716" cy="417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Oval 5"/>
          <p:cNvSpPr/>
          <p:nvPr/>
        </p:nvSpPr>
        <p:spPr bwMode="auto">
          <a:xfrm>
            <a:off x="6919612" y="1117520"/>
            <a:ext cx="1872208" cy="720626"/>
          </a:xfrm>
          <a:prstGeom prst="ellipse">
            <a:avLst/>
          </a:prstGeom>
          <a:solidFill>
            <a:schemeClr val="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edömning låg, mellan</a:t>
            </a:r>
            <a:r>
              <a:rPr kumimoji="0" lang="sv-SE" sz="12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och hög</a:t>
            </a:r>
            <a:endParaRPr kumimoji="0" lang="sv-SE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85157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641" name="Picture 1964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524" y="3326573"/>
            <a:ext cx="3761582" cy="749194"/>
          </a:xfrm>
          <a:prstGeom prst="rect">
            <a:avLst/>
          </a:prstGeom>
        </p:spPr>
      </p:pic>
      <p:pic>
        <p:nvPicPr>
          <p:cNvPr id="19640" name="Picture 1963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33617" y="3042815"/>
            <a:ext cx="3678308" cy="732609"/>
          </a:xfrm>
          <a:prstGeom prst="rect">
            <a:avLst/>
          </a:prstGeom>
        </p:spPr>
      </p:pic>
      <p:sp>
        <p:nvSpPr>
          <p:cNvPr id="7" name="Freeform 6"/>
          <p:cNvSpPr/>
          <p:nvPr/>
        </p:nvSpPr>
        <p:spPr bwMode="auto">
          <a:xfrm>
            <a:off x="8297863" y="5298083"/>
            <a:ext cx="92075" cy="21748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217106"/>
                </a:lnTo>
                <a:lnTo>
                  <a:pt x="116515" y="217106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" name="Freeform 7"/>
          <p:cNvSpPr/>
          <p:nvPr/>
        </p:nvSpPr>
        <p:spPr bwMode="auto">
          <a:xfrm>
            <a:off x="4476750" y="4628158"/>
            <a:ext cx="4056063" cy="43338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384655"/>
                </a:lnTo>
                <a:lnTo>
                  <a:pt x="4056583" y="384655"/>
                </a:lnTo>
                <a:lnTo>
                  <a:pt x="4056583" y="434212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9" name="Freeform 8"/>
          <p:cNvSpPr/>
          <p:nvPr/>
        </p:nvSpPr>
        <p:spPr bwMode="auto">
          <a:xfrm>
            <a:off x="7727950" y="5298083"/>
            <a:ext cx="90488" cy="21748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217106"/>
                </a:lnTo>
                <a:lnTo>
                  <a:pt x="116515" y="217106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Freeform 9"/>
          <p:cNvSpPr/>
          <p:nvPr/>
        </p:nvSpPr>
        <p:spPr bwMode="auto">
          <a:xfrm>
            <a:off x="4476750" y="4628158"/>
            <a:ext cx="3484563" cy="43338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384655"/>
                </a:lnTo>
                <a:lnTo>
                  <a:pt x="3485499" y="384655"/>
                </a:lnTo>
                <a:lnTo>
                  <a:pt x="3485499" y="434212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1" name="Freeform 10"/>
          <p:cNvSpPr/>
          <p:nvPr/>
        </p:nvSpPr>
        <p:spPr bwMode="auto">
          <a:xfrm>
            <a:off x="7156450" y="5298083"/>
            <a:ext cx="90488" cy="887412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887303"/>
                </a:lnTo>
                <a:lnTo>
                  <a:pt x="116515" y="887303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2" name="Freeform 11"/>
          <p:cNvSpPr/>
          <p:nvPr/>
        </p:nvSpPr>
        <p:spPr bwMode="auto">
          <a:xfrm>
            <a:off x="7156450" y="5298083"/>
            <a:ext cx="90488" cy="552450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552205"/>
                </a:lnTo>
                <a:lnTo>
                  <a:pt x="116515" y="552205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" name="Freeform 12"/>
          <p:cNvSpPr/>
          <p:nvPr/>
        </p:nvSpPr>
        <p:spPr bwMode="auto">
          <a:xfrm>
            <a:off x="7156450" y="5298083"/>
            <a:ext cx="90488" cy="21748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217106"/>
                </a:lnTo>
                <a:lnTo>
                  <a:pt x="116515" y="217106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4" name="Freeform 13"/>
          <p:cNvSpPr/>
          <p:nvPr/>
        </p:nvSpPr>
        <p:spPr bwMode="auto">
          <a:xfrm>
            <a:off x="4476750" y="4628158"/>
            <a:ext cx="2914650" cy="43338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384655"/>
                </a:lnTo>
                <a:lnTo>
                  <a:pt x="2914415" y="384655"/>
                </a:lnTo>
                <a:lnTo>
                  <a:pt x="2914415" y="434212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5" name="Freeform 14"/>
          <p:cNvSpPr/>
          <p:nvPr/>
        </p:nvSpPr>
        <p:spPr bwMode="auto">
          <a:xfrm>
            <a:off x="6584950" y="5298083"/>
            <a:ext cx="92075" cy="21748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217106"/>
                </a:lnTo>
                <a:lnTo>
                  <a:pt x="116515" y="217106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6" name="Freeform 15"/>
          <p:cNvSpPr/>
          <p:nvPr/>
        </p:nvSpPr>
        <p:spPr bwMode="auto">
          <a:xfrm>
            <a:off x="4476750" y="4628158"/>
            <a:ext cx="2343150" cy="43338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384655"/>
                </a:lnTo>
                <a:lnTo>
                  <a:pt x="2343331" y="384655"/>
                </a:lnTo>
                <a:lnTo>
                  <a:pt x="2343331" y="434212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" name="Freeform 16"/>
          <p:cNvSpPr/>
          <p:nvPr/>
        </p:nvSpPr>
        <p:spPr bwMode="auto">
          <a:xfrm>
            <a:off x="6013450" y="5315545"/>
            <a:ext cx="92075" cy="552450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552205"/>
                </a:lnTo>
                <a:lnTo>
                  <a:pt x="116515" y="552205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8" name="Freeform 17"/>
          <p:cNvSpPr/>
          <p:nvPr/>
        </p:nvSpPr>
        <p:spPr bwMode="auto">
          <a:xfrm>
            <a:off x="6013450" y="5315545"/>
            <a:ext cx="92075" cy="21748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217106"/>
                </a:lnTo>
                <a:lnTo>
                  <a:pt x="116515" y="217106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9" name="Freeform 18"/>
          <p:cNvSpPr/>
          <p:nvPr/>
        </p:nvSpPr>
        <p:spPr bwMode="auto">
          <a:xfrm>
            <a:off x="4476750" y="4628158"/>
            <a:ext cx="1771650" cy="43338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384655"/>
                </a:lnTo>
                <a:lnTo>
                  <a:pt x="1772247" y="384655"/>
                </a:lnTo>
                <a:lnTo>
                  <a:pt x="1772247" y="434212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0" name="Freeform 19"/>
          <p:cNvSpPr/>
          <p:nvPr/>
        </p:nvSpPr>
        <p:spPr bwMode="auto">
          <a:xfrm>
            <a:off x="5443538" y="5315545"/>
            <a:ext cx="90487" cy="217488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217106"/>
                </a:lnTo>
                <a:lnTo>
                  <a:pt x="116515" y="217106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1" name="Freeform 20"/>
          <p:cNvSpPr/>
          <p:nvPr/>
        </p:nvSpPr>
        <p:spPr bwMode="auto">
          <a:xfrm>
            <a:off x="4476750" y="4628158"/>
            <a:ext cx="1200150" cy="43338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384655"/>
                </a:lnTo>
                <a:lnTo>
                  <a:pt x="1201164" y="384655"/>
                </a:lnTo>
                <a:lnTo>
                  <a:pt x="1201164" y="434212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2" name="Freeform 21"/>
          <p:cNvSpPr/>
          <p:nvPr/>
        </p:nvSpPr>
        <p:spPr bwMode="auto">
          <a:xfrm>
            <a:off x="4754563" y="5298083"/>
            <a:ext cx="90487" cy="887412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887303"/>
                </a:lnTo>
                <a:lnTo>
                  <a:pt x="116515" y="887303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3" name="Freeform 22"/>
          <p:cNvSpPr/>
          <p:nvPr/>
        </p:nvSpPr>
        <p:spPr bwMode="auto">
          <a:xfrm>
            <a:off x="4754563" y="5298083"/>
            <a:ext cx="90487" cy="552450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552205"/>
                </a:lnTo>
                <a:lnTo>
                  <a:pt x="116515" y="552205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4" name="Freeform 23"/>
          <p:cNvSpPr/>
          <p:nvPr/>
        </p:nvSpPr>
        <p:spPr bwMode="auto">
          <a:xfrm>
            <a:off x="4754563" y="5298083"/>
            <a:ext cx="90487" cy="21748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217106"/>
                </a:lnTo>
                <a:lnTo>
                  <a:pt x="116515" y="217106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5" name="Freeform 24"/>
          <p:cNvSpPr/>
          <p:nvPr/>
        </p:nvSpPr>
        <p:spPr bwMode="auto">
          <a:xfrm>
            <a:off x="4476750" y="4628158"/>
            <a:ext cx="511175" cy="43338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384655"/>
                </a:lnTo>
                <a:lnTo>
                  <a:pt x="512087" y="384655"/>
                </a:lnTo>
                <a:lnTo>
                  <a:pt x="512087" y="434212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7" name="Freeform 26"/>
          <p:cNvSpPr/>
          <p:nvPr/>
        </p:nvSpPr>
        <p:spPr bwMode="auto">
          <a:xfrm>
            <a:off x="4371975" y="4628158"/>
            <a:ext cx="90488" cy="43338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104716" y="0"/>
                </a:moveTo>
                <a:lnTo>
                  <a:pt x="104716" y="384655"/>
                </a:lnTo>
                <a:lnTo>
                  <a:pt x="45720" y="384655"/>
                </a:lnTo>
                <a:lnTo>
                  <a:pt x="45720" y="434212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8" name="Freeform 27"/>
          <p:cNvSpPr/>
          <p:nvPr/>
        </p:nvSpPr>
        <p:spPr bwMode="auto">
          <a:xfrm>
            <a:off x="3611563" y="5298083"/>
            <a:ext cx="92075" cy="552450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552205"/>
                </a:lnTo>
                <a:lnTo>
                  <a:pt x="116515" y="552205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9" name="Freeform 28"/>
          <p:cNvSpPr/>
          <p:nvPr/>
        </p:nvSpPr>
        <p:spPr bwMode="auto">
          <a:xfrm>
            <a:off x="3611563" y="5298083"/>
            <a:ext cx="92075" cy="21748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217106"/>
                </a:lnTo>
                <a:lnTo>
                  <a:pt x="116515" y="217106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0" name="Freeform 29"/>
          <p:cNvSpPr/>
          <p:nvPr/>
        </p:nvSpPr>
        <p:spPr bwMode="auto">
          <a:xfrm>
            <a:off x="3846513" y="4628158"/>
            <a:ext cx="630237" cy="43338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630080" y="0"/>
                </a:moveTo>
                <a:lnTo>
                  <a:pt x="630080" y="384655"/>
                </a:lnTo>
                <a:lnTo>
                  <a:pt x="0" y="384655"/>
                </a:lnTo>
                <a:lnTo>
                  <a:pt x="0" y="434212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1" name="Freeform 30"/>
          <p:cNvSpPr/>
          <p:nvPr/>
        </p:nvSpPr>
        <p:spPr bwMode="auto">
          <a:xfrm>
            <a:off x="3275013" y="4628158"/>
            <a:ext cx="1201737" cy="43338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1201164" y="0"/>
                </a:moveTo>
                <a:lnTo>
                  <a:pt x="1201164" y="384655"/>
                </a:lnTo>
                <a:lnTo>
                  <a:pt x="0" y="384655"/>
                </a:lnTo>
                <a:lnTo>
                  <a:pt x="0" y="434212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2" name="Freeform 31"/>
          <p:cNvSpPr/>
          <p:nvPr/>
        </p:nvSpPr>
        <p:spPr bwMode="auto">
          <a:xfrm>
            <a:off x="2470150" y="5298083"/>
            <a:ext cx="90488" cy="887412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887303"/>
                </a:lnTo>
                <a:lnTo>
                  <a:pt x="116515" y="887303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3" name="Freeform 32"/>
          <p:cNvSpPr/>
          <p:nvPr/>
        </p:nvSpPr>
        <p:spPr bwMode="auto">
          <a:xfrm>
            <a:off x="2470150" y="5298083"/>
            <a:ext cx="90488" cy="552450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552205"/>
                </a:lnTo>
                <a:lnTo>
                  <a:pt x="116515" y="552205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4" name="Freeform 33"/>
          <p:cNvSpPr/>
          <p:nvPr/>
        </p:nvSpPr>
        <p:spPr bwMode="auto">
          <a:xfrm>
            <a:off x="2470150" y="5298083"/>
            <a:ext cx="90488" cy="21748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217106"/>
                </a:lnTo>
                <a:lnTo>
                  <a:pt x="116515" y="217106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5" name="Freeform 34"/>
          <p:cNvSpPr/>
          <p:nvPr/>
        </p:nvSpPr>
        <p:spPr bwMode="auto">
          <a:xfrm>
            <a:off x="2705100" y="4628158"/>
            <a:ext cx="1771650" cy="43338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1772247" y="0"/>
                </a:moveTo>
                <a:lnTo>
                  <a:pt x="1772247" y="384655"/>
                </a:lnTo>
                <a:lnTo>
                  <a:pt x="0" y="384655"/>
                </a:lnTo>
                <a:lnTo>
                  <a:pt x="0" y="434212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6" name="Freeform 35"/>
          <p:cNvSpPr/>
          <p:nvPr/>
        </p:nvSpPr>
        <p:spPr bwMode="auto">
          <a:xfrm>
            <a:off x="1898650" y="5298083"/>
            <a:ext cx="92075" cy="21748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217106"/>
                </a:lnTo>
                <a:lnTo>
                  <a:pt x="116515" y="217106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7" name="Freeform 36"/>
          <p:cNvSpPr/>
          <p:nvPr/>
        </p:nvSpPr>
        <p:spPr bwMode="auto">
          <a:xfrm>
            <a:off x="2133600" y="4628158"/>
            <a:ext cx="2343150" cy="43338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2343331" y="0"/>
                </a:moveTo>
                <a:lnTo>
                  <a:pt x="2343331" y="384655"/>
                </a:lnTo>
                <a:lnTo>
                  <a:pt x="0" y="384655"/>
                </a:lnTo>
                <a:lnTo>
                  <a:pt x="0" y="434212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8" name="Freeform 37"/>
          <p:cNvSpPr/>
          <p:nvPr/>
        </p:nvSpPr>
        <p:spPr bwMode="auto">
          <a:xfrm>
            <a:off x="1327150" y="5298083"/>
            <a:ext cx="92075" cy="552450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552205"/>
                </a:lnTo>
                <a:lnTo>
                  <a:pt x="116515" y="552205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9" name="Freeform 38"/>
          <p:cNvSpPr/>
          <p:nvPr/>
        </p:nvSpPr>
        <p:spPr bwMode="auto">
          <a:xfrm>
            <a:off x="1327150" y="5298083"/>
            <a:ext cx="92075" cy="21748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217106"/>
                </a:lnTo>
                <a:lnTo>
                  <a:pt x="116515" y="217106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0" name="Freeform 39"/>
          <p:cNvSpPr/>
          <p:nvPr/>
        </p:nvSpPr>
        <p:spPr bwMode="auto">
          <a:xfrm>
            <a:off x="1562100" y="4628158"/>
            <a:ext cx="2914650" cy="43338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2914415" y="0"/>
                </a:moveTo>
                <a:lnTo>
                  <a:pt x="2914415" y="384655"/>
                </a:lnTo>
                <a:lnTo>
                  <a:pt x="0" y="384655"/>
                </a:lnTo>
                <a:lnTo>
                  <a:pt x="0" y="434212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1" name="Freeform 40"/>
          <p:cNvSpPr/>
          <p:nvPr/>
        </p:nvSpPr>
        <p:spPr bwMode="auto">
          <a:xfrm>
            <a:off x="757238" y="5298083"/>
            <a:ext cx="90487" cy="552450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552205"/>
                </a:lnTo>
                <a:lnTo>
                  <a:pt x="116515" y="552205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2" name="Freeform 41"/>
          <p:cNvSpPr/>
          <p:nvPr/>
        </p:nvSpPr>
        <p:spPr bwMode="auto">
          <a:xfrm>
            <a:off x="757238" y="5298083"/>
            <a:ext cx="90487" cy="21748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217106"/>
                </a:lnTo>
                <a:lnTo>
                  <a:pt x="116515" y="217106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3" name="Freeform 42"/>
          <p:cNvSpPr/>
          <p:nvPr/>
        </p:nvSpPr>
        <p:spPr bwMode="auto">
          <a:xfrm>
            <a:off x="990600" y="4628158"/>
            <a:ext cx="3486150" cy="43338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3485499" y="0"/>
                </a:moveTo>
                <a:lnTo>
                  <a:pt x="3485499" y="384655"/>
                </a:lnTo>
                <a:lnTo>
                  <a:pt x="0" y="384655"/>
                </a:lnTo>
                <a:lnTo>
                  <a:pt x="0" y="434212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4" name="Freeform 43"/>
          <p:cNvSpPr/>
          <p:nvPr/>
        </p:nvSpPr>
        <p:spPr bwMode="auto">
          <a:xfrm>
            <a:off x="185738" y="5298083"/>
            <a:ext cx="92075" cy="552450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552205"/>
                </a:lnTo>
                <a:lnTo>
                  <a:pt x="116515" y="552205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5" name="Freeform 44"/>
          <p:cNvSpPr/>
          <p:nvPr/>
        </p:nvSpPr>
        <p:spPr bwMode="auto">
          <a:xfrm>
            <a:off x="185738" y="5298083"/>
            <a:ext cx="92075" cy="21748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217106"/>
                </a:lnTo>
                <a:lnTo>
                  <a:pt x="116515" y="217106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6" name="Freeform 45"/>
          <p:cNvSpPr/>
          <p:nvPr/>
        </p:nvSpPr>
        <p:spPr bwMode="auto">
          <a:xfrm>
            <a:off x="420688" y="4628158"/>
            <a:ext cx="4056062" cy="43338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056583" y="0"/>
                </a:moveTo>
                <a:lnTo>
                  <a:pt x="4056583" y="384655"/>
                </a:lnTo>
                <a:lnTo>
                  <a:pt x="0" y="384655"/>
                </a:lnTo>
                <a:lnTo>
                  <a:pt x="0" y="434212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8" name="Rectangle 47"/>
          <p:cNvSpPr/>
          <p:nvPr/>
        </p:nvSpPr>
        <p:spPr bwMode="auto">
          <a:xfrm>
            <a:off x="3729858" y="1313777"/>
            <a:ext cx="1476941" cy="71867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bg2">
                <a:lumMod val="60000"/>
                <a:lumOff val="40000"/>
              </a:schemeClr>
            </a:solidFill>
          </a:ln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900" b="1" dirty="0"/>
              <a:t>Projektstyrgrupp</a:t>
            </a:r>
          </a:p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900" dirty="0"/>
              <a:t>Energimyndigheten</a:t>
            </a:r>
          </a:p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900" dirty="0"/>
              <a:t>Insatsledare 2016</a:t>
            </a:r>
          </a:p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900" dirty="0"/>
              <a:t>Sweco</a:t>
            </a:r>
          </a:p>
        </p:txBody>
      </p:sp>
      <p:sp>
        <p:nvSpPr>
          <p:cNvPr id="49" name="Rectangle 48"/>
          <p:cNvSpPr/>
          <p:nvPr/>
        </p:nvSpPr>
        <p:spPr bwMode="auto">
          <a:xfrm>
            <a:off x="3980755" y="3801852"/>
            <a:ext cx="991989" cy="483610"/>
          </a:xfrm>
          <a:prstGeom prst="rect">
            <a:avLst/>
          </a:prstGeom>
          <a:solidFill>
            <a:srgbClr val="EA7F31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1050" b="1" dirty="0">
                <a:solidFill>
                  <a:schemeClr val="bg1"/>
                </a:solidFill>
              </a:rPr>
              <a:t>Insatsledare</a:t>
            </a:r>
          </a:p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1050" b="1" dirty="0">
                <a:solidFill>
                  <a:schemeClr val="bg1"/>
                </a:solidFill>
              </a:rPr>
              <a:t>Sol</a:t>
            </a:r>
          </a:p>
        </p:txBody>
      </p:sp>
      <p:sp>
        <p:nvSpPr>
          <p:cNvPr id="50" name="Freeform 49"/>
          <p:cNvSpPr/>
          <p:nvPr/>
        </p:nvSpPr>
        <p:spPr bwMode="auto">
          <a:xfrm>
            <a:off x="184150" y="5061478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00B0F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Regional samordning</a:t>
            </a:r>
          </a:p>
        </p:txBody>
      </p:sp>
      <p:sp>
        <p:nvSpPr>
          <p:cNvPr id="51" name="Freeform 50"/>
          <p:cNvSpPr/>
          <p:nvPr/>
        </p:nvSpPr>
        <p:spPr bwMode="auto">
          <a:xfrm>
            <a:off x="321262" y="5396514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EKR</a:t>
            </a:r>
          </a:p>
        </p:txBody>
      </p:sp>
      <p:sp>
        <p:nvSpPr>
          <p:cNvPr id="52" name="Freeform 51"/>
          <p:cNvSpPr/>
          <p:nvPr/>
        </p:nvSpPr>
        <p:spPr bwMode="auto">
          <a:xfrm>
            <a:off x="321262" y="5731552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EKR</a:t>
            </a:r>
          </a:p>
        </p:txBody>
      </p:sp>
      <p:sp>
        <p:nvSpPr>
          <p:cNvPr id="53" name="Freeform 52"/>
          <p:cNvSpPr/>
          <p:nvPr/>
        </p:nvSpPr>
        <p:spPr bwMode="auto">
          <a:xfrm>
            <a:off x="755204" y="5061478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00B0F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Regional samordning</a:t>
            </a:r>
          </a:p>
        </p:txBody>
      </p:sp>
      <p:sp>
        <p:nvSpPr>
          <p:cNvPr id="54" name="Freeform 53"/>
          <p:cNvSpPr/>
          <p:nvPr/>
        </p:nvSpPr>
        <p:spPr bwMode="auto">
          <a:xfrm>
            <a:off x="892316" y="5396514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EKR</a:t>
            </a:r>
          </a:p>
        </p:txBody>
      </p:sp>
      <p:sp>
        <p:nvSpPr>
          <p:cNvPr id="55" name="Freeform 54"/>
          <p:cNvSpPr/>
          <p:nvPr/>
        </p:nvSpPr>
        <p:spPr bwMode="auto">
          <a:xfrm>
            <a:off x="892316" y="5731552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EKR</a:t>
            </a:r>
          </a:p>
        </p:txBody>
      </p:sp>
      <p:sp>
        <p:nvSpPr>
          <p:cNvPr id="56" name="Freeform 55"/>
          <p:cNvSpPr/>
          <p:nvPr/>
        </p:nvSpPr>
        <p:spPr bwMode="auto">
          <a:xfrm>
            <a:off x="1326257" y="5061478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00B0F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Regional samordning</a:t>
            </a:r>
          </a:p>
        </p:txBody>
      </p:sp>
      <p:sp>
        <p:nvSpPr>
          <p:cNvPr id="57" name="Freeform 56"/>
          <p:cNvSpPr/>
          <p:nvPr/>
        </p:nvSpPr>
        <p:spPr bwMode="auto">
          <a:xfrm>
            <a:off x="1463370" y="5396514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EKR</a:t>
            </a:r>
          </a:p>
        </p:txBody>
      </p:sp>
      <p:sp>
        <p:nvSpPr>
          <p:cNvPr id="58" name="Freeform 57"/>
          <p:cNvSpPr/>
          <p:nvPr/>
        </p:nvSpPr>
        <p:spPr bwMode="auto">
          <a:xfrm>
            <a:off x="1463370" y="5731552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EKR</a:t>
            </a:r>
          </a:p>
        </p:txBody>
      </p:sp>
      <p:sp>
        <p:nvSpPr>
          <p:cNvPr id="59" name="Freeform 58"/>
          <p:cNvSpPr/>
          <p:nvPr/>
        </p:nvSpPr>
        <p:spPr bwMode="auto">
          <a:xfrm>
            <a:off x="1897312" y="5061478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00B0F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Regional samordning</a:t>
            </a:r>
          </a:p>
        </p:txBody>
      </p:sp>
      <p:sp>
        <p:nvSpPr>
          <p:cNvPr id="60" name="Freeform 59"/>
          <p:cNvSpPr/>
          <p:nvPr/>
        </p:nvSpPr>
        <p:spPr bwMode="auto">
          <a:xfrm>
            <a:off x="2034424" y="5396514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EKR</a:t>
            </a:r>
          </a:p>
        </p:txBody>
      </p:sp>
      <p:sp>
        <p:nvSpPr>
          <p:cNvPr id="61" name="Freeform 60"/>
          <p:cNvSpPr/>
          <p:nvPr/>
        </p:nvSpPr>
        <p:spPr bwMode="auto">
          <a:xfrm>
            <a:off x="2468366" y="5061478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00B0F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Regional samordning</a:t>
            </a:r>
          </a:p>
        </p:txBody>
      </p:sp>
      <p:sp>
        <p:nvSpPr>
          <p:cNvPr id="62" name="Freeform 61"/>
          <p:cNvSpPr/>
          <p:nvPr/>
        </p:nvSpPr>
        <p:spPr bwMode="auto">
          <a:xfrm>
            <a:off x="2605479" y="5396514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EKR</a:t>
            </a:r>
          </a:p>
        </p:txBody>
      </p:sp>
      <p:sp>
        <p:nvSpPr>
          <p:cNvPr id="63" name="Freeform 62"/>
          <p:cNvSpPr/>
          <p:nvPr/>
        </p:nvSpPr>
        <p:spPr bwMode="auto">
          <a:xfrm>
            <a:off x="2605479" y="5731552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EKR</a:t>
            </a:r>
          </a:p>
        </p:txBody>
      </p:sp>
      <p:sp>
        <p:nvSpPr>
          <p:cNvPr id="64" name="Freeform 63"/>
          <p:cNvSpPr/>
          <p:nvPr/>
        </p:nvSpPr>
        <p:spPr bwMode="auto">
          <a:xfrm>
            <a:off x="2605479" y="6066590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EKR</a:t>
            </a:r>
          </a:p>
        </p:txBody>
      </p:sp>
      <p:sp>
        <p:nvSpPr>
          <p:cNvPr id="65" name="Freeform 64"/>
          <p:cNvSpPr/>
          <p:nvPr/>
        </p:nvSpPr>
        <p:spPr bwMode="auto">
          <a:xfrm>
            <a:off x="3039420" y="5061478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00B0F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Regional samordning</a:t>
            </a:r>
            <a:endParaRPr lang="sv-SE" sz="500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66" name="Freeform 65"/>
          <p:cNvSpPr/>
          <p:nvPr/>
        </p:nvSpPr>
        <p:spPr bwMode="auto">
          <a:xfrm>
            <a:off x="3610474" y="5061478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00B0F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Regional samordning</a:t>
            </a:r>
          </a:p>
        </p:txBody>
      </p:sp>
      <p:sp>
        <p:nvSpPr>
          <p:cNvPr id="67" name="Freeform 66"/>
          <p:cNvSpPr/>
          <p:nvPr/>
        </p:nvSpPr>
        <p:spPr bwMode="auto">
          <a:xfrm>
            <a:off x="3747587" y="5396514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EKR</a:t>
            </a:r>
          </a:p>
        </p:txBody>
      </p:sp>
      <p:sp>
        <p:nvSpPr>
          <p:cNvPr id="68" name="Freeform 67"/>
          <p:cNvSpPr/>
          <p:nvPr/>
        </p:nvSpPr>
        <p:spPr bwMode="auto">
          <a:xfrm>
            <a:off x="3747587" y="5731552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EKR</a:t>
            </a:r>
          </a:p>
        </p:txBody>
      </p:sp>
      <p:sp>
        <p:nvSpPr>
          <p:cNvPr id="69" name="Freeform 68"/>
          <p:cNvSpPr/>
          <p:nvPr/>
        </p:nvSpPr>
        <p:spPr bwMode="auto">
          <a:xfrm>
            <a:off x="4181528" y="5061478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00B0F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Regional samordning</a:t>
            </a:r>
          </a:p>
        </p:txBody>
      </p:sp>
      <p:sp>
        <p:nvSpPr>
          <p:cNvPr id="71" name="Freeform 70"/>
          <p:cNvSpPr/>
          <p:nvPr/>
        </p:nvSpPr>
        <p:spPr bwMode="auto">
          <a:xfrm>
            <a:off x="4752583" y="5061478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00B0F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Regional samordning</a:t>
            </a:r>
          </a:p>
        </p:txBody>
      </p:sp>
      <p:sp>
        <p:nvSpPr>
          <p:cNvPr id="72" name="Freeform 71"/>
          <p:cNvSpPr/>
          <p:nvPr/>
        </p:nvSpPr>
        <p:spPr bwMode="auto">
          <a:xfrm>
            <a:off x="4889695" y="5396514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EKR</a:t>
            </a:r>
          </a:p>
        </p:txBody>
      </p:sp>
      <p:sp>
        <p:nvSpPr>
          <p:cNvPr id="73" name="Freeform 72"/>
          <p:cNvSpPr/>
          <p:nvPr/>
        </p:nvSpPr>
        <p:spPr bwMode="auto">
          <a:xfrm>
            <a:off x="4889695" y="5731552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EKR</a:t>
            </a:r>
          </a:p>
        </p:txBody>
      </p:sp>
      <p:sp>
        <p:nvSpPr>
          <p:cNvPr id="74" name="Freeform 73"/>
          <p:cNvSpPr/>
          <p:nvPr/>
        </p:nvSpPr>
        <p:spPr bwMode="auto">
          <a:xfrm>
            <a:off x="4889695" y="6066590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EKR</a:t>
            </a:r>
          </a:p>
        </p:txBody>
      </p:sp>
      <p:sp>
        <p:nvSpPr>
          <p:cNvPr id="75" name="Freeform 74"/>
          <p:cNvSpPr/>
          <p:nvPr/>
        </p:nvSpPr>
        <p:spPr bwMode="auto">
          <a:xfrm>
            <a:off x="5441623" y="5061479"/>
            <a:ext cx="471945" cy="258064"/>
          </a:xfrm>
          <a:custGeom>
            <a:avLst/>
            <a:gdLst>
              <a:gd name="connsiteX0" fmla="*/ 0 w 471970"/>
              <a:gd name="connsiteY0" fmla="*/ 0 h 378000"/>
              <a:gd name="connsiteX1" fmla="*/ 471970 w 471970"/>
              <a:gd name="connsiteY1" fmla="*/ 0 h 378000"/>
              <a:gd name="connsiteX2" fmla="*/ 471970 w 471970"/>
              <a:gd name="connsiteY2" fmla="*/ 378000 h 378000"/>
              <a:gd name="connsiteX3" fmla="*/ 0 w 471970"/>
              <a:gd name="connsiteY3" fmla="*/ 378000 h 378000"/>
              <a:gd name="connsiteX4" fmla="*/ 0 w 471970"/>
              <a:gd name="connsiteY4" fmla="*/ 0 h 37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378000">
                <a:moveTo>
                  <a:pt x="0" y="0"/>
                </a:moveTo>
                <a:lnTo>
                  <a:pt x="471970" y="0"/>
                </a:lnTo>
                <a:lnTo>
                  <a:pt x="471970" y="378000"/>
                </a:lnTo>
                <a:lnTo>
                  <a:pt x="0" y="378000"/>
                </a:lnTo>
                <a:lnTo>
                  <a:pt x="0" y="0"/>
                </a:lnTo>
                <a:close/>
              </a:path>
            </a:pathLst>
          </a:custGeom>
          <a:solidFill>
            <a:srgbClr val="00B0F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Regional samordning</a:t>
            </a:r>
          </a:p>
        </p:txBody>
      </p:sp>
      <p:sp>
        <p:nvSpPr>
          <p:cNvPr id="76" name="Freeform 75"/>
          <p:cNvSpPr/>
          <p:nvPr/>
        </p:nvSpPr>
        <p:spPr bwMode="auto">
          <a:xfrm>
            <a:off x="5578736" y="5414679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EKR</a:t>
            </a:r>
          </a:p>
        </p:txBody>
      </p:sp>
      <p:sp>
        <p:nvSpPr>
          <p:cNvPr id="77" name="Freeform 76"/>
          <p:cNvSpPr/>
          <p:nvPr/>
        </p:nvSpPr>
        <p:spPr bwMode="auto">
          <a:xfrm>
            <a:off x="6012677" y="5061478"/>
            <a:ext cx="471945" cy="254067"/>
          </a:xfrm>
          <a:custGeom>
            <a:avLst/>
            <a:gdLst>
              <a:gd name="connsiteX0" fmla="*/ 0 w 471970"/>
              <a:gd name="connsiteY0" fmla="*/ 0 h 380002"/>
              <a:gd name="connsiteX1" fmla="*/ 471970 w 471970"/>
              <a:gd name="connsiteY1" fmla="*/ 0 h 380002"/>
              <a:gd name="connsiteX2" fmla="*/ 471970 w 471970"/>
              <a:gd name="connsiteY2" fmla="*/ 380002 h 380002"/>
              <a:gd name="connsiteX3" fmla="*/ 0 w 471970"/>
              <a:gd name="connsiteY3" fmla="*/ 380002 h 380002"/>
              <a:gd name="connsiteX4" fmla="*/ 0 w 471970"/>
              <a:gd name="connsiteY4" fmla="*/ 0 h 380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380002">
                <a:moveTo>
                  <a:pt x="0" y="0"/>
                </a:moveTo>
                <a:lnTo>
                  <a:pt x="471970" y="0"/>
                </a:lnTo>
                <a:lnTo>
                  <a:pt x="471970" y="380002"/>
                </a:lnTo>
                <a:lnTo>
                  <a:pt x="0" y="380002"/>
                </a:lnTo>
                <a:lnTo>
                  <a:pt x="0" y="0"/>
                </a:lnTo>
                <a:close/>
              </a:path>
            </a:pathLst>
          </a:custGeom>
          <a:solidFill>
            <a:srgbClr val="00B0F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Regional samordning</a:t>
            </a:r>
          </a:p>
        </p:txBody>
      </p:sp>
      <p:sp>
        <p:nvSpPr>
          <p:cNvPr id="78" name="Freeform 77"/>
          <p:cNvSpPr/>
          <p:nvPr/>
        </p:nvSpPr>
        <p:spPr bwMode="auto">
          <a:xfrm>
            <a:off x="6149790" y="5415092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EKR</a:t>
            </a:r>
          </a:p>
        </p:txBody>
      </p:sp>
      <p:sp>
        <p:nvSpPr>
          <p:cNvPr id="79" name="Freeform 78"/>
          <p:cNvSpPr/>
          <p:nvPr/>
        </p:nvSpPr>
        <p:spPr bwMode="auto">
          <a:xfrm>
            <a:off x="6149790" y="5750130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EKR</a:t>
            </a:r>
          </a:p>
        </p:txBody>
      </p:sp>
      <p:sp>
        <p:nvSpPr>
          <p:cNvPr id="80" name="Freeform 79"/>
          <p:cNvSpPr/>
          <p:nvPr/>
        </p:nvSpPr>
        <p:spPr bwMode="auto">
          <a:xfrm>
            <a:off x="6583731" y="5061478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00B0F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Regional samordning</a:t>
            </a:r>
          </a:p>
        </p:txBody>
      </p:sp>
      <p:sp>
        <p:nvSpPr>
          <p:cNvPr id="81" name="Freeform 80"/>
          <p:cNvSpPr/>
          <p:nvPr/>
        </p:nvSpPr>
        <p:spPr bwMode="auto">
          <a:xfrm>
            <a:off x="6720844" y="5396514"/>
            <a:ext cx="452817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EKR</a:t>
            </a:r>
          </a:p>
        </p:txBody>
      </p:sp>
      <p:sp>
        <p:nvSpPr>
          <p:cNvPr id="82" name="Freeform 81"/>
          <p:cNvSpPr/>
          <p:nvPr/>
        </p:nvSpPr>
        <p:spPr bwMode="auto">
          <a:xfrm>
            <a:off x="7154785" y="5061478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00B0F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Regional samordning</a:t>
            </a:r>
          </a:p>
        </p:txBody>
      </p:sp>
      <p:sp>
        <p:nvSpPr>
          <p:cNvPr id="83" name="Freeform 82"/>
          <p:cNvSpPr/>
          <p:nvPr/>
        </p:nvSpPr>
        <p:spPr bwMode="auto">
          <a:xfrm>
            <a:off x="7272771" y="5396514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EKR</a:t>
            </a:r>
          </a:p>
        </p:txBody>
      </p:sp>
      <p:sp>
        <p:nvSpPr>
          <p:cNvPr id="84" name="Freeform 83"/>
          <p:cNvSpPr/>
          <p:nvPr/>
        </p:nvSpPr>
        <p:spPr bwMode="auto">
          <a:xfrm>
            <a:off x="7272771" y="5731552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EKR</a:t>
            </a:r>
          </a:p>
        </p:txBody>
      </p:sp>
      <p:sp>
        <p:nvSpPr>
          <p:cNvPr id="85" name="Freeform 84"/>
          <p:cNvSpPr/>
          <p:nvPr/>
        </p:nvSpPr>
        <p:spPr bwMode="auto">
          <a:xfrm>
            <a:off x="7272771" y="6066590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EKR</a:t>
            </a:r>
          </a:p>
        </p:txBody>
      </p:sp>
      <p:sp>
        <p:nvSpPr>
          <p:cNvPr id="86" name="Freeform 85"/>
          <p:cNvSpPr/>
          <p:nvPr/>
        </p:nvSpPr>
        <p:spPr bwMode="auto">
          <a:xfrm>
            <a:off x="7725840" y="5061478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00B0F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Regional samordning</a:t>
            </a:r>
          </a:p>
        </p:txBody>
      </p:sp>
      <p:sp>
        <p:nvSpPr>
          <p:cNvPr id="87" name="Freeform 86"/>
          <p:cNvSpPr/>
          <p:nvPr/>
        </p:nvSpPr>
        <p:spPr bwMode="auto">
          <a:xfrm>
            <a:off x="7843825" y="5396514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EKR</a:t>
            </a:r>
          </a:p>
        </p:txBody>
      </p:sp>
      <p:sp>
        <p:nvSpPr>
          <p:cNvPr id="88" name="Freeform 87"/>
          <p:cNvSpPr/>
          <p:nvPr/>
        </p:nvSpPr>
        <p:spPr bwMode="auto">
          <a:xfrm>
            <a:off x="8296894" y="5061478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00B0F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Regional samordning</a:t>
            </a:r>
          </a:p>
        </p:txBody>
      </p:sp>
      <p:sp>
        <p:nvSpPr>
          <p:cNvPr id="89" name="Freeform 88"/>
          <p:cNvSpPr/>
          <p:nvPr/>
        </p:nvSpPr>
        <p:spPr bwMode="auto">
          <a:xfrm>
            <a:off x="8414880" y="5396514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EKR</a:t>
            </a:r>
          </a:p>
        </p:txBody>
      </p:sp>
      <p:sp>
        <p:nvSpPr>
          <p:cNvPr id="90" name="Rectangle 89"/>
          <p:cNvSpPr/>
          <p:nvPr/>
        </p:nvSpPr>
        <p:spPr bwMode="auto">
          <a:xfrm>
            <a:off x="7039189" y="3926294"/>
            <a:ext cx="1609272" cy="800250"/>
          </a:xfrm>
          <a:prstGeom prst="rect">
            <a:avLst/>
          </a:prstGeom>
          <a:solidFill>
            <a:schemeClr val="bg1">
              <a:lumMod val="75000"/>
            </a:schemeClr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800" b="1" dirty="0"/>
              <a:t>Expertgrupp</a:t>
            </a:r>
          </a:p>
          <a:p>
            <a:pPr marL="136922" indent="-136922">
              <a:buFont typeface="Arial" panose="020B0604020202020204" pitchFamily="34" charset="0"/>
              <a:buChar char="•"/>
            </a:pPr>
            <a:r>
              <a:rPr lang="sv-SE" sz="800" dirty="0"/>
              <a:t>Områdesexpert fr EM</a:t>
            </a:r>
          </a:p>
          <a:p>
            <a:pPr marL="136922" indent="-136922">
              <a:buFont typeface="Arial" panose="020B0604020202020204" pitchFamily="34" charset="0"/>
              <a:buChar char="•"/>
            </a:pPr>
            <a:r>
              <a:rPr lang="sv-SE" sz="800" dirty="0"/>
              <a:t>Metodexpert (Sweco ex)</a:t>
            </a:r>
          </a:p>
          <a:p>
            <a:pPr marL="136922" indent="-136922">
              <a:buFont typeface="Arial" panose="020B0604020202020204" pitchFamily="34" charset="0"/>
              <a:buChar char="•"/>
            </a:pPr>
            <a:r>
              <a:rPr lang="sv-SE" sz="800" dirty="0"/>
              <a:t>Skatteexpert (Sol) vid behov</a:t>
            </a:r>
          </a:p>
          <a:p>
            <a:pPr marL="136922" indent="-136922">
              <a:buFont typeface="Arial" panose="020B0604020202020204" pitchFamily="34" charset="0"/>
              <a:buChar char="•"/>
            </a:pPr>
            <a:r>
              <a:rPr lang="sv-SE" sz="800" dirty="0"/>
              <a:t>Teknisk konsult vid behov</a:t>
            </a:r>
          </a:p>
          <a:p>
            <a:pPr marL="136922" indent="-136922">
              <a:buFont typeface="Arial" panose="020B0604020202020204" pitchFamily="34" charset="0"/>
              <a:buChar char="•"/>
            </a:pPr>
            <a:r>
              <a:rPr lang="sv-SE" sz="800" dirty="0"/>
              <a:t>EKR-expert vid behov</a:t>
            </a:r>
          </a:p>
        </p:txBody>
      </p:sp>
      <p:sp>
        <p:nvSpPr>
          <p:cNvPr id="91" name="Freeform 90"/>
          <p:cNvSpPr/>
          <p:nvPr/>
        </p:nvSpPr>
        <p:spPr bwMode="auto">
          <a:xfrm>
            <a:off x="6138461" y="6073378"/>
            <a:ext cx="471945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EKR</a:t>
            </a:r>
          </a:p>
        </p:txBody>
      </p:sp>
      <p:sp>
        <p:nvSpPr>
          <p:cNvPr id="92" name="Freeform 91"/>
          <p:cNvSpPr/>
          <p:nvPr/>
        </p:nvSpPr>
        <p:spPr bwMode="auto">
          <a:xfrm>
            <a:off x="6013450" y="5653682"/>
            <a:ext cx="92075" cy="523875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552205"/>
                </a:lnTo>
                <a:lnTo>
                  <a:pt x="116515" y="552205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9629" name="Title 1"/>
          <p:cNvSpPr>
            <a:spLocks noGrp="1"/>
          </p:cNvSpPr>
          <p:nvPr>
            <p:ph type="title"/>
          </p:nvPr>
        </p:nvSpPr>
        <p:spPr>
          <a:xfrm>
            <a:off x="398951" y="296145"/>
            <a:ext cx="7629525" cy="890880"/>
          </a:xfrm>
        </p:spPr>
        <p:txBody>
          <a:bodyPr/>
          <a:lstStyle/>
          <a:p>
            <a:r>
              <a:rPr lang="sv-SE" dirty="0"/>
              <a:t>Projektorganisation</a:t>
            </a:r>
            <a:br>
              <a:rPr lang="sv-SE" dirty="0"/>
            </a:br>
            <a:r>
              <a:rPr lang="sv-SE" sz="2400" dirty="0"/>
              <a:t>Insatsprojekt 2017</a:t>
            </a:r>
          </a:p>
        </p:txBody>
      </p:sp>
      <p:cxnSp>
        <p:nvCxnSpPr>
          <p:cNvPr id="3" name="Elbow Connector 2"/>
          <p:cNvCxnSpPr>
            <a:endCxn id="90" idx="1"/>
          </p:cNvCxnSpPr>
          <p:nvPr/>
        </p:nvCxnSpPr>
        <p:spPr bwMode="auto">
          <a:xfrm flipV="1">
            <a:off x="4491037" y="4326419"/>
            <a:ext cx="2548152" cy="308459"/>
          </a:xfrm>
          <a:prstGeom prst="bentConnector3">
            <a:avLst>
              <a:gd name="adj1" fmla="val 75899"/>
            </a:avLst>
          </a:prstGeom>
          <a:solidFill>
            <a:schemeClr val="hlink"/>
          </a:solidFill>
          <a:ln w="285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5" name="Straight Connector 94"/>
          <p:cNvCxnSpPr>
            <a:stCxn id="48" idx="2"/>
            <a:endCxn id="49" idx="0"/>
          </p:cNvCxnSpPr>
          <p:nvPr/>
        </p:nvCxnSpPr>
        <p:spPr bwMode="auto">
          <a:xfrm>
            <a:off x="4468329" y="2032452"/>
            <a:ext cx="8421" cy="1769400"/>
          </a:xfrm>
          <a:prstGeom prst="line">
            <a:avLst/>
          </a:prstGeom>
          <a:solidFill>
            <a:schemeClr val="hlink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9" name="Freeform 108"/>
          <p:cNvSpPr/>
          <p:nvPr/>
        </p:nvSpPr>
        <p:spPr bwMode="auto">
          <a:xfrm>
            <a:off x="3100168" y="5315213"/>
            <a:ext cx="92075" cy="552450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552205"/>
                </a:lnTo>
                <a:lnTo>
                  <a:pt x="116515" y="552205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10" name="Freeform 109"/>
          <p:cNvSpPr/>
          <p:nvPr/>
        </p:nvSpPr>
        <p:spPr bwMode="auto">
          <a:xfrm>
            <a:off x="3100168" y="5315213"/>
            <a:ext cx="92075" cy="21748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217106"/>
                </a:lnTo>
                <a:lnTo>
                  <a:pt x="116515" y="217106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11" name="Freeform 110"/>
          <p:cNvSpPr/>
          <p:nvPr/>
        </p:nvSpPr>
        <p:spPr bwMode="auto">
          <a:xfrm>
            <a:off x="3203848" y="5413644"/>
            <a:ext cx="368911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EKR</a:t>
            </a:r>
          </a:p>
        </p:txBody>
      </p:sp>
      <p:sp>
        <p:nvSpPr>
          <p:cNvPr id="112" name="Freeform 111"/>
          <p:cNvSpPr/>
          <p:nvPr/>
        </p:nvSpPr>
        <p:spPr bwMode="auto">
          <a:xfrm>
            <a:off x="3203848" y="5748682"/>
            <a:ext cx="368911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EKR</a:t>
            </a:r>
          </a:p>
        </p:txBody>
      </p:sp>
      <p:sp>
        <p:nvSpPr>
          <p:cNvPr id="113" name="Freeform 112"/>
          <p:cNvSpPr/>
          <p:nvPr/>
        </p:nvSpPr>
        <p:spPr bwMode="auto">
          <a:xfrm>
            <a:off x="4213714" y="5305810"/>
            <a:ext cx="92075" cy="552450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552205"/>
                </a:lnTo>
                <a:lnTo>
                  <a:pt x="116515" y="552205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14" name="Freeform 113"/>
          <p:cNvSpPr/>
          <p:nvPr/>
        </p:nvSpPr>
        <p:spPr bwMode="auto">
          <a:xfrm>
            <a:off x="4213714" y="5305810"/>
            <a:ext cx="92075" cy="21748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217106"/>
                </a:lnTo>
                <a:lnTo>
                  <a:pt x="116515" y="217106"/>
                </a:lnTo>
              </a:path>
            </a:pathLst>
          </a:custGeom>
          <a:noFill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15" name="Freeform 114"/>
          <p:cNvSpPr/>
          <p:nvPr/>
        </p:nvSpPr>
        <p:spPr bwMode="auto">
          <a:xfrm>
            <a:off x="4300178" y="5404241"/>
            <a:ext cx="415838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EKR</a:t>
            </a:r>
          </a:p>
        </p:txBody>
      </p:sp>
      <p:sp>
        <p:nvSpPr>
          <p:cNvPr id="116" name="Freeform 115"/>
          <p:cNvSpPr/>
          <p:nvPr/>
        </p:nvSpPr>
        <p:spPr bwMode="auto">
          <a:xfrm>
            <a:off x="4300178" y="5739279"/>
            <a:ext cx="415838" cy="235942"/>
          </a:xfrm>
          <a:custGeom>
            <a:avLst/>
            <a:gdLst>
              <a:gd name="connsiteX0" fmla="*/ 0 w 471970"/>
              <a:gd name="connsiteY0" fmla="*/ 0 h 235985"/>
              <a:gd name="connsiteX1" fmla="*/ 471970 w 471970"/>
              <a:gd name="connsiteY1" fmla="*/ 0 h 235985"/>
              <a:gd name="connsiteX2" fmla="*/ 471970 w 471970"/>
              <a:gd name="connsiteY2" fmla="*/ 235985 h 235985"/>
              <a:gd name="connsiteX3" fmla="*/ 0 w 471970"/>
              <a:gd name="connsiteY3" fmla="*/ 235985 h 235985"/>
              <a:gd name="connsiteX4" fmla="*/ 0 w 471970"/>
              <a:gd name="connsiteY4" fmla="*/ 0 h 235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970" h="235985">
                <a:moveTo>
                  <a:pt x="0" y="0"/>
                </a:moveTo>
                <a:lnTo>
                  <a:pt x="471970" y="0"/>
                </a:lnTo>
                <a:lnTo>
                  <a:pt x="471970" y="235985"/>
                </a:lnTo>
                <a:lnTo>
                  <a:pt x="0" y="235985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500" dirty="0"/>
              <a:t>EKR</a:t>
            </a:r>
          </a:p>
        </p:txBody>
      </p:sp>
      <p:sp>
        <p:nvSpPr>
          <p:cNvPr id="121" name="Rectangle 120"/>
          <p:cNvSpPr/>
          <p:nvPr/>
        </p:nvSpPr>
        <p:spPr bwMode="auto">
          <a:xfrm>
            <a:off x="6732560" y="2589286"/>
            <a:ext cx="991989" cy="433981"/>
          </a:xfrm>
          <a:prstGeom prst="rect">
            <a:avLst/>
          </a:prstGeom>
          <a:solidFill>
            <a:srgbClr val="EA7F31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1050" b="1" dirty="0">
                <a:solidFill>
                  <a:schemeClr val="bg1"/>
                </a:solidFill>
              </a:rPr>
              <a:t>Insatsledare</a:t>
            </a:r>
          </a:p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1050" b="1" dirty="0">
                <a:solidFill>
                  <a:schemeClr val="bg1"/>
                </a:solidFill>
              </a:rPr>
              <a:t>Belysning</a:t>
            </a:r>
          </a:p>
        </p:txBody>
      </p:sp>
      <p:sp>
        <p:nvSpPr>
          <p:cNvPr id="123" name="Rectangle 122"/>
          <p:cNvSpPr/>
          <p:nvPr/>
        </p:nvSpPr>
        <p:spPr bwMode="auto">
          <a:xfrm>
            <a:off x="1409896" y="2873044"/>
            <a:ext cx="991989" cy="433981"/>
          </a:xfrm>
          <a:prstGeom prst="rect">
            <a:avLst/>
          </a:prstGeom>
          <a:solidFill>
            <a:srgbClr val="EA7F31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lIns="3175" tIns="3175" rIns="3175" bIns="3175" spcCol="1270" anchor="ctr"/>
          <a:lstStyle/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1050" b="1" dirty="0">
                <a:solidFill>
                  <a:schemeClr val="bg1"/>
                </a:solidFill>
              </a:rPr>
              <a:t>Insatsledare</a:t>
            </a:r>
          </a:p>
          <a:p>
            <a:pPr algn="ctr" defTabSz="222250">
              <a:lnSpc>
                <a:spcPct val="90000"/>
              </a:lnSpc>
              <a:spcAft>
                <a:spcPct val="35000"/>
              </a:spcAft>
              <a:defRPr/>
            </a:pPr>
            <a:r>
              <a:rPr lang="sv-SE" sz="1050" b="1" dirty="0">
                <a:solidFill>
                  <a:schemeClr val="bg1"/>
                </a:solidFill>
              </a:rPr>
              <a:t>Transporter</a:t>
            </a:r>
          </a:p>
        </p:txBody>
      </p:sp>
      <p:cxnSp>
        <p:nvCxnSpPr>
          <p:cNvPr id="19635" name="Straight Connector 19634"/>
          <p:cNvCxnSpPr>
            <a:endCxn id="49" idx="2"/>
          </p:cNvCxnSpPr>
          <p:nvPr/>
        </p:nvCxnSpPr>
        <p:spPr bwMode="auto">
          <a:xfrm flipV="1">
            <a:off x="4476750" y="4285462"/>
            <a:ext cx="0" cy="676920"/>
          </a:xfrm>
          <a:prstGeom prst="line">
            <a:avLst/>
          </a:prstGeom>
          <a:solidFill>
            <a:schemeClr val="hlink"/>
          </a:solidFill>
          <a:ln w="285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1" name="Elbow Connector 100"/>
          <p:cNvCxnSpPr>
            <a:stCxn id="123" idx="0"/>
          </p:cNvCxnSpPr>
          <p:nvPr/>
        </p:nvCxnSpPr>
        <p:spPr bwMode="auto">
          <a:xfrm rot="5400000" flipH="1" flipV="1">
            <a:off x="2832295" y="1232800"/>
            <a:ext cx="713840" cy="2566648"/>
          </a:xfrm>
          <a:prstGeom prst="bentConnector2">
            <a:avLst/>
          </a:prstGeom>
          <a:solidFill>
            <a:schemeClr val="hlink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8" name="Elbow Connector 107"/>
          <p:cNvCxnSpPr>
            <a:stCxn id="121" idx="0"/>
          </p:cNvCxnSpPr>
          <p:nvPr/>
        </p:nvCxnSpPr>
        <p:spPr bwMode="auto">
          <a:xfrm rot="16200000" flipV="1">
            <a:off x="5585224" y="945955"/>
            <a:ext cx="430082" cy="2856580"/>
          </a:xfrm>
          <a:prstGeom prst="bentConnector2">
            <a:avLst/>
          </a:prstGeom>
          <a:solidFill>
            <a:schemeClr val="hlink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7" name="Picture 1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44059" y="2518354"/>
            <a:ext cx="777508" cy="427496"/>
          </a:xfrm>
          <a:prstGeom prst="rect">
            <a:avLst/>
          </a:prstGeom>
        </p:spPr>
      </p:pic>
      <p:pic>
        <p:nvPicPr>
          <p:cNvPr id="153" name="Picture 15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1775" y="2873044"/>
            <a:ext cx="777508" cy="427496"/>
          </a:xfrm>
          <a:prstGeom prst="rect">
            <a:avLst/>
          </a:prstGeom>
        </p:spPr>
      </p:pic>
      <p:cxnSp>
        <p:nvCxnSpPr>
          <p:cNvPr id="119" name="Elbow Connector 118"/>
          <p:cNvCxnSpPr>
            <a:stCxn id="153" idx="2"/>
          </p:cNvCxnSpPr>
          <p:nvPr/>
        </p:nvCxnSpPr>
        <p:spPr bwMode="auto">
          <a:xfrm rot="16200000" flipH="1">
            <a:off x="1195686" y="2725382"/>
            <a:ext cx="135048" cy="1285363"/>
          </a:xfrm>
          <a:prstGeom prst="bentConnector2">
            <a:avLst/>
          </a:prstGeom>
          <a:solidFill>
            <a:schemeClr val="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9" name="Elbow Connector 128"/>
          <p:cNvCxnSpPr>
            <a:stCxn id="117" idx="2"/>
          </p:cNvCxnSpPr>
          <p:nvPr/>
        </p:nvCxnSpPr>
        <p:spPr bwMode="auto">
          <a:xfrm rot="5400000">
            <a:off x="7792317" y="2400472"/>
            <a:ext cx="195118" cy="1285875"/>
          </a:xfrm>
          <a:prstGeom prst="bentConnector2">
            <a:avLst/>
          </a:prstGeom>
          <a:solidFill>
            <a:schemeClr val="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7" name="Date Placeholder 3"/>
          <p:cNvSpPr>
            <a:spLocks noGrp="1"/>
          </p:cNvSpPr>
          <p:nvPr>
            <p:ph type="dt" sz="half" idx="10"/>
          </p:nvPr>
        </p:nvSpPr>
        <p:spPr>
          <a:xfrm>
            <a:off x="3198813" y="6164263"/>
            <a:ext cx="1905000" cy="457200"/>
          </a:xfrm>
        </p:spPr>
        <p:txBody>
          <a:bodyPr/>
          <a:lstStyle/>
          <a:p>
            <a:fld id="{B65C4A8B-80CE-41AF-9BEF-B1D9CF02D6AD}" type="datetime1">
              <a:rPr lang="sv-SE" smtClean="0"/>
              <a:t>2016-11-15</a:t>
            </a:fld>
            <a:endParaRPr lang="en-GB" dirty="0"/>
          </a:p>
        </p:txBody>
      </p:sp>
      <p:sp>
        <p:nvSpPr>
          <p:cNvPr id="2" name="Rectangle 1"/>
          <p:cNvSpPr/>
          <p:nvPr/>
        </p:nvSpPr>
        <p:spPr bwMode="auto">
          <a:xfrm>
            <a:off x="6191426" y="1313776"/>
            <a:ext cx="1511652" cy="418760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sv-SE" sz="1000" b="1" dirty="0"/>
              <a:t>Kommunikation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1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Energimyndigheten</a:t>
            </a:r>
          </a:p>
        </p:txBody>
      </p:sp>
      <p:cxnSp>
        <p:nvCxnSpPr>
          <p:cNvPr id="5" name="Elbow Connector 4"/>
          <p:cNvCxnSpPr>
            <a:stCxn id="48" idx="3"/>
            <a:endCxn id="2" idx="1"/>
          </p:cNvCxnSpPr>
          <p:nvPr/>
        </p:nvCxnSpPr>
        <p:spPr bwMode="auto">
          <a:xfrm flipV="1">
            <a:off x="5206799" y="1523156"/>
            <a:ext cx="984627" cy="149959"/>
          </a:xfrm>
          <a:prstGeom prst="bentConnector3">
            <a:avLst/>
          </a:prstGeom>
          <a:solidFill>
            <a:schemeClr val="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7" name="Elbow Connector 46"/>
          <p:cNvCxnSpPr>
            <a:stCxn id="2" idx="2"/>
            <a:endCxn id="121" idx="1"/>
          </p:cNvCxnSpPr>
          <p:nvPr/>
        </p:nvCxnSpPr>
        <p:spPr bwMode="auto">
          <a:xfrm rot="5400000">
            <a:off x="6303036" y="2162060"/>
            <a:ext cx="1073741" cy="214692"/>
          </a:xfrm>
          <a:prstGeom prst="bentConnector4">
            <a:avLst>
              <a:gd name="adj1" fmla="val 23675"/>
              <a:gd name="adj2" fmla="val 206478"/>
            </a:avLst>
          </a:prstGeom>
          <a:solidFill>
            <a:schemeClr val="hlink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93" name="Elbow Connector 92"/>
          <p:cNvCxnSpPr>
            <a:stCxn id="121" idx="1"/>
            <a:endCxn id="49" idx="3"/>
          </p:cNvCxnSpPr>
          <p:nvPr/>
        </p:nvCxnSpPr>
        <p:spPr bwMode="auto">
          <a:xfrm rot="10800000" flipV="1">
            <a:off x="4972744" y="2806277"/>
            <a:ext cx="1759816" cy="1237380"/>
          </a:xfrm>
          <a:prstGeom prst="bentConnector3">
            <a:avLst>
              <a:gd name="adj1" fmla="val 84640"/>
            </a:avLst>
          </a:prstGeom>
          <a:solidFill>
            <a:schemeClr val="hlink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99" name="Elbow Connector 98"/>
          <p:cNvCxnSpPr>
            <a:stCxn id="121" idx="1"/>
            <a:endCxn id="123" idx="3"/>
          </p:cNvCxnSpPr>
          <p:nvPr/>
        </p:nvCxnSpPr>
        <p:spPr bwMode="auto">
          <a:xfrm rot="10800000" flipV="1">
            <a:off x="2401886" y="2806277"/>
            <a:ext cx="4330675" cy="283758"/>
          </a:xfrm>
          <a:prstGeom prst="bentConnector3">
            <a:avLst>
              <a:gd name="adj1" fmla="val 78153"/>
            </a:avLst>
          </a:prstGeom>
          <a:solidFill>
            <a:schemeClr val="hlink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 bwMode="auto">
          <a:xfrm>
            <a:off x="0" y="857250"/>
            <a:ext cx="119063" cy="1190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50" dirty="0">
              <a:latin typeface="Sweco Sans" panose="020B0604020202020204" charset="0"/>
              <a:sym typeface="Sweco Sans" panose="020B0604020202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Grov tidslinje för insatsprojekten framå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5C4A8B-80CE-41AF-9BEF-B1D9CF02D6AD}" type="datetime1">
              <a:rPr lang="sv-SE" smtClean="0"/>
              <a:t>2016-11-15</a:t>
            </a:fld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AEDCA-98D4-4724-9772-C653855CA076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13" name="Chevron 12"/>
          <p:cNvSpPr/>
          <p:nvPr/>
        </p:nvSpPr>
        <p:spPr>
          <a:xfrm>
            <a:off x="931360" y="2378806"/>
            <a:ext cx="7515035" cy="406372"/>
          </a:xfrm>
          <a:prstGeom prst="chevron">
            <a:avLst/>
          </a:prstGeom>
          <a:solidFill>
            <a:srgbClr val="B5CC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650" dirty="0">
                <a:solidFill>
                  <a:schemeClr val="tx1"/>
                </a:solidFill>
              </a:rPr>
              <a:t>Energimyndigheten</a:t>
            </a:r>
            <a:endParaRPr lang="en-US" sz="1650" dirty="0">
              <a:solidFill>
                <a:schemeClr val="tx1"/>
              </a:solidFill>
            </a:endParaRPr>
          </a:p>
        </p:txBody>
      </p:sp>
      <p:cxnSp>
        <p:nvCxnSpPr>
          <p:cNvPr id="38" name="Straight Arrow Connector 37"/>
          <p:cNvCxnSpPr/>
          <p:nvPr/>
        </p:nvCxnSpPr>
        <p:spPr>
          <a:xfrm flipV="1">
            <a:off x="1162818" y="5328526"/>
            <a:ext cx="1215028" cy="65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 85"/>
          <p:cNvSpPr/>
          <p:nvPr/>
        </p:nvSpPr>
        <p:spPr>
          <a:xfrm>
            <a:off x="1496639" y="5015801"/>
            <a:ext cx="559769" cy="3462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sv-SE" sz="1650" dirty="0"/>
              <a:t>Nov</a:t>
            </a:r>
          </a:p>
        </p:txBody>
      </p:sp>
      <p:sp>
        <p:nvSpPr>
          <p:cNvPr id="52" name="Chevron 51"/>
          <p:cNvSpPr/>
          <p:nvPr/>
        </p:nvSpPr>
        <p:spPr>
          <a:xfrm>
            <a:off x="4467929" y="3349747"/>
            <a:ext cx="914376" cy="397661"/>
          </a:xfrm>
          <a:prstGeom prst="chevron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825" dirty="0">
                <a:solidFill>
                  <a:schemeClr val="tx1"/>
                </a:solidFill>
              </a:rPr>
              <a:t>Anmälan EKR</a:t>
            </a:r>
            <a:endParaRPr lang="en-US" sz="825" dirty="0">
              <a:solidFill>
                <a:schemeClr val="tx1"/>
              </a:solidFill>
            </a:endParaRPr>
          </a:p>
        </p:txBody>
      </p:sp>
      <p:sp>
        <p:nvSpPr>
          <p:cNvPr id="53" name="Chevron 52"/>
          <p:cNvSpPr/>
          <p:nvPr/>
        </p:nvSpPr>
        <p:spPr>
          <a:xfrm>
            <a:off x="1496639" y="2872193"/>
            <a:ext cx="1834390" cy="438377"/>
          </a:xfrm>
          <a:prstGeom prst="chevron">
            <a:avLst/>
          </a:prstGeom>
          <a:solidFill>
            <a:srgbClr val="7C76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650" dirty="0">
                <a:solidFill>
                  <a:schemeClr val="tx1"/>
                </a:solidFill>
              </a:rPr>
              <a:t>RUL-utlysning</a:t>
            </a:r>
            <a:endParaRPr lang="en-US" sz="1650" dirty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12560" y="2906301"/>
            <a:ext cx="60022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v-SE" sz="900" dirty="0"/>
              <a:t>RUL/</a:t>
            </a:r>
          </a:p>
          <a:p>
            <a:pPr algn="ctr"/>
            <a:r>
              <a:rPr lang="sv-SE" sz="900" dirty="0"/>
              <a:t>Energi-kontoren</a:t>
            </a:r>
            <a:endParaRPr lang="en-US" sz="900" dirty="0"/>
          </a:p>
        </p:txBody>
      </p:sp>
      <p:sp>
        <p:nvSpPr>
          <p:cNvPr id="60" name="Rectangle 59"/>
          <p:cNvSpPr/>
          <p:nvPr/>
        </p:nvSpPr>
        <p:spPr>
          <a:xfrm>
            <a:off x="2783862" y="5034748"/>
            <a:ext cx="559769" cy="3462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sv-SE" sz="1650" dirty="0"/>
              <a:t>Dec</a:t>
            </a:r>
          </a:p>
        </p:txBody>
      </p:sp>
      <p:cxnSp>
        <p:nvCxnSpPr>
          <p:cNvPr id="62" name="Straight Arrow Connector 61"/>
          <p:cNvCxnSpPr/>
          <p:nvPr/>
        </p:nvCxnSpPr>
        <p:spPr>
          <a:xfrm flipV="1">
            <a:off x="2377846" y="5325688"/>
            <a:ext cx="1215028" cy="65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tangle 62"/>
          <p:cNvSpPr/>
          <p:nvPr/>
        </p:nvSpPr>
        <p:spPr>
          <a:xfrm>
            <a:off x="3991884" y="5037521"/>
            <a:ext cx="524503" cy="3462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sv-SE" sz="1650" dirty="0"/>
              <a:t>Jan</a:t>
            </a:r>
          </a:p>
        </p:txBody>
      </p:sp>
      <p:cxnSp>
        <p:nvCxnSpPr>
          <p:cNvPr id="64" name="Straight Arrow Connector 63"/>
          <p:cNvCxnSpPr/>
          <p:nvPr/>
        </p:nvCxnSpPr>
        <p:spPr>
          <a:xfrm flipV="1">
            <a:off x="3585868" y="5328460"/>
            <a:ext cx="1215028" cy="65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5206912" y="5037521"/>
            <a:ext cx="548548" cy="3462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sv-SE" sz="1650" dirty="0"/>
              <a:t>Feb</a:t>
            </a:r>
          </a:p>
        </p:txBody>
      </p:sp>
      <p:cxnSp>
        <p:nvCxnSpPr>
          <p:cNvPr id="67" name="Straight Arrow Connector 66"/>
          <p:cNvCxnSpPr/>
          <p:nvPr/>
        </p:nvCxnSpPr>
        <p:spPr>
          <a:xfrm flipV="1">
            <a:off x="4800897" y="5328460"/>
            <a:ext cx="1215028" cy="65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/>
          <p:cNvSpPr/>
          <p:nvPr/>
        </p:nvSpPr>
        <p:spPr>
          <a:xfrm>
            <a:off x="6432108" y="5034748"/>
            <a:ext cx="654346" cy="3462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sv-SE" sz="1650" dirty="0"/>
              <a:t>Mars</a:t>
            </a:r>
          </a:p>
        </p:txBody>
      </p:sp>
      <p:cxnSp>
        <p:nvCxnSpPr>
          <p:cNvPr id="69" name="Straight Arrow Connector 68"/>
          <p:cNvCxnSpPr/>
          <p:nvPr/>
        </p:nvCxnSpPr>
        <p:spPr>
          <a:xfrm flipV="1">
            <a:off x="6026093" y="5325688"/>
            <a:ext cx="1215028" cy="65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 72"/>
          <p:cNvSpPr/>
          <p:nvPr/>
        </p:nvSpPr>
        <p:spPr>
          <a:xfrm>
            <a:off x="7640130" y="5034748"/>
            <a:ext cx="606256" cy="3462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sv-SE" sz="1650" dirty="0"/>
              <a:t>April</a:t>
            </a:r>
          </a:p>
        </p:txBody>
      </p:sp>
      <p:cxnSp>
        <p:nvCxnSpPr>
          <p:cNvPr id="74" name="Straight Arrow Connector 73"/>
          <p:cNvCxnSpPr/>
          <p:nvPr/>
        </p:nvCxnSpPr>
        <p:spPr>
          <a:xfrm flipV="1">
            <a:off x="7234115" y="5325688"/>
            <a:ext cx="1215028" cy="65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79"/>
          <p:cNvSpPr/>
          <p:nvPr/>
        </p:nvSpPr>
        <p:spPr>
          <a:xfrm>
            <a:off x="212560" y="3473663"/>
            <a:ext cx="600227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v-SE" sz="900" dirty="0"/>
              <a:t>EKR</a:t>
            </a:r>
            <a:endParaRPr lang="en-US" sz="900" dirty="0"/>
          </a:p>
        </p:txBody>
      </p:sp>
      <p:cxnSp>
        <p:nvCxnSpPr>
          <p:cNvPr id="81" name="Straight Connector 80"/>
          <p:cNvCxnSpPr/>
          <p:nvPr/>
        </p:nvCxnSpPr>
        <p:spPr>
          <a:xfrm>
            <a:off x="3321601" y="3073464"/>
            <a:ext cx="18854" cy="1060692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tangle 83"/>
          <p:cNvSpPr/>
          <p:nvPr/>
        </p:nvSpPr>
        <p:spPr>
          <a:xfrm>
            <a:off x="3111668" y="4136605"/>
            <a:ext cx="948023" cy="606845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sv-SE" sz="1050" dirty="0">
                <a:solidFill>
                  <a:schemeClr val="tx1"/>
                </a:solidFill>
              </a:rPr>
              <a:t>Ca 15e dec RUL-utlysning stänger</a:t>
            </a:r>
          </a:p>
        </p:txBody>
      </p:sp>
      <p:cxnSp>
        <p:nvCxnSpPr>
          <p:cNvPr id="88" name="Straight Connector 87"/>
          <p:cNvCxnSpPr/>
          <p:nvPr/>
        </p:nvCxnSpPr>
        <p:spPr>
          <a:xfrm>
            <a:off x="4496343" y="3134866"/>
            <a:ext cx="18854" cy="1060692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tangle 88"/>
          <p:cNvSpPr/>
          <p:nvPr/>
        </p:nvSpPr>
        <p:spPr>
          <a:xfrm>
            <a:off x="4286410" y="4198007"/>
            <a:ext cx="948023" cy="606845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sv-SE" sz="1050" dirty="0">
                <a:solidFill>
                  <a:schemeClr val="tx1"/>
                </a:solidFill>
              </a:rPr>
              <a:t>Slutet av jan insatsledare beslutas</a:t>
            </a:r>
          </a:p>
        </p:txBody>
      </p:sp>
      <p:sp>
        <p:nvSpPr>
          <p:cNvPr id="90" name="Chevron 89"/>
          <p:cNvSpPr/>
          <p:nvPr/>
        </p:nvSpPr>
        <p:spPr>
          <a:xfrm>
            <a:off x="5234432" y="3348352"/>
            <a:ext cx="781492" cy="399056"/>
          </a:xfrm>
          <a:prstGeom prst="chevron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75" dirty="0">
                <a:solidFill>
                  <a:schemeClr val="tx1"/>
                </a:solidFill>
              </a:rPr>
              <a:t>Mapp-</a:t>
            </a:r>
            <a:r>
              <a:rPr lang="en-US" sz="675" dirty="0" err="1">
                <a:solidFill>
                  <a:schemeClr val="tx1"/>
                </a:solidFill>
              </a:rPr>
              <a:t>ning</a:t>
            </a:r>
            <a:endParaRPr lang="en-US" sz="675" dirty="0">
              <a:solidFill>
                <a:schemeClr val="tx1"/>
              </a:solidFill>
            </a:endParaRPr>
          </a:p>
        </p:txBody>
      </p:sp>
      <p:cxnSp>
        <p:nvCxnSpPr>
          <p:cNvPr id="91" name="Straight Connector 90"/>
          <p:cNvCxnSpPr/>
          <p:nvPr/>
        </p:nvCxnSpPr>
        <p:spPr>
          <a:xfrm>
            <a:off x="5915353" y="3520514"/>
            <a:ext cx="608" cy="919514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tangle 91"/>
          <p:cNvSpPr/>
          <p:nvPr/>
        </p:nvSpPr>
        <p:spPr>
          <a:xfrm>
            <a:off x="5533729" y="3891825"/>
            <a:ext cx="763247" cy="69062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sv-SE" sz="1050" dirty="0">
                <a:solidFill>
                  <a:schemeClr val="tx1"/>
                </a:solidFill>
              </a:rPr>
              <a:t>Ca slutet av feb EKR får besked</a:t>
            </a:r>
          </a:p>
        </p:txBody>
      </p:sp>
      <p:sp>
        <p:nvSpPr>
          <p:cNvPr id="93" name="Chevron 92"/>
          <p:cNvSpPr/>
          <p:nvPr/>
        </p:nvSpPr>
        <p:spPr>
          <a:xfrm>
            <a:off x="6173538" y="3350634"/>
            <a:ext cx="2272857" cy="407604"/>
          </a:xfrm>
          <a:prstGeom prst="chevron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50" dirty="0" err="1">
                <a:solidFill>
                  <a:schemeClr val="tx1"/>
                </a:solidFill>
              </a:rPr>
              <a:t>Insatsprojekt</a:t>
            </a:r>
            <a:endParaRPr lang="en-US" sz="1650" dirty="0">
              <a:solidFill>
                <a:schemeClr val="tx1"/>
              </a:solidFill>
            </a:endParaRPr>
          </a:p>
        </p:txBody>
      </p:sp>
      <p:cxnSp>
        <p:nvCxnSpPr>
          <p:cNvPr id="94" name="Straight Connector 93"/>
          <p:cNvCxnSpPr>
            <a:endCxn id="95" idx="0"/>
          </p:cNvCxnSpPr>
          <p:nvPr/>
        </p:nvCxnSpPr>
        <p:spPr>
          <a:xfrm>
            <a:off x="6802795" y="3747407"/>
            <a:ext cx="1" cy="234765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tangle 94"/>
          <p:cNvSpPr/>
          <p:nvPr/>
        </p:nvSpPr>
        <p:spPr>
          <a:xfrm>
            <a:off x="6514684" y="3982173"/>
            <a:ext cx="576223" cy="37045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sv-SE" sz="1050" dirty="0">
                <a:solidFill>
                  <a:schemeClr val="tx1"/>
                </a:solidFill>
              </a:rPr>
              <a:t>Kickoff</a:t>
            </a:r>
          </a:p>
        </p:txBody>
      </p:sp>
      <p:sp>
        <p:nvSpPr>
          <p:cNvPr id="96" name="Chevron 95"/>
          <p:cNvSpPr/>
          <p:nvPr/>
        </p:nvSpPr>
        <p:spPr>
          <a:xfrm>
            <a:off x="1504250" y="3354228"/>
            <a:ext cx="1781916" cy="393180"/>
          </a:xfrm>
          <a:prstGeom prst="chevron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50" dirty="0" err="1">
                <a:solidFill>
                  <a:schemeClr val="tx1"/>
                </a:solidFill>
              </a:rPr>
              <a:t>Möjlighet</a:t>
            </a:r>
            <a:r>
              <a:rPr lang="en-US" sz="1650" dirty="0">
                <a:solidFill>
                  <a:schemeClr val="tx1"/>
                </a:solidFill>
              </a:rPr>
              <a:t> till </a:t>
            </a:r>
            <a:r>
              <a:rPr lang="en-US" sz="1650" dirty="0" err="1">
                <a:solidFill>
                  <a:schemeClr val="tx1"/>
                </a:solidFill>
              </a:rPr>
              <a:t>inspel</a:t>
            </a:r>
            <a:r>
              <a:rPr lang="en-US" sz="1650" dirty="0">
                <a:solidFill>
                  <a:schemeClr val="tx1"/>
                </a:solidFill>
              </a:rPr>
              <a:t> </a:t>
            </a:r>
            <a:r>
              <a:rPr lang="en-US" sz="1650" dirty="0" err="1">
                <a:solidFill>
                  <a:schemeClr val="tx1"/>
                </a:solidFill>
              </a:rPr>
              <a:t>idéer</a:t>
            </a:r>
            <a:endParaRPr lang="en-US" sz="1650" dirty="0">
              <a:solidFill>
                <a:schemeClr val="tx1"/>
              </a:solidFill>
            </a:endParaRPr>
          </a:p>
        </p:txBody>
      </p:sp>
      <p:sp>
        <p:nvSpPr>
          <p:cNvPr id="97" name="Curved Down Arrow 96"/>
          <p:cNvSpPr/>
          <p:nvPr/>
        </p:nvSpPr>
        <p:spPr>
          <a:xfrm>
            <a:off x="1172893" y="3148675"/>
            <a:ext cx="748553" cy="215240"/>
          </a:xfrm>
          <a:prstGeom prst="curvedDown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50" dirty="0">
              <a:solidFill>
                <a:schemeClr val="tx1"/>
              </a:solidFill>
            </a:endParaRPr>
          </a:p>
        </p:txBody>
      </p:sp>
      <p:sp>
        <p:nvSpPr>
          <p:cNvPr id="98" name="Curved Up Arrow 97"/>
          <p:cNvSpPr/>
          <p:nvPr/>
        </p:nvSpPr>
        <p:spPr>
          <a:xfrm flipH="1">
            <a:off x="1157488" y="3412820"/>
            <a:ext cx="728522" cy="224932"/>
          </a:xfrm>
          <a:prstGeom prst="curvedUp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50" dirty="0">
              <a:solidFill>
                <a:schemeClr val="tx1"/>
              </a:solidFill>
            </a:endParaRPr>
          </a:p>
        </p:txBody>
      </p:sp>
      <p:sp>
        <p:nvSpPr>
          <p:cNvPr id="99" name="Curved Up Arrow 98"/>
          <p:cNvSpPr/>
          <p:nvPr/>
        </p:nvSpPr>
        <p:spPr>
          <a:xfrm>
            <a:off x="2295756" y="2615119"/>
            <a:ext cx="4786242" cy="403412"/>
          </a:xfrm>
          <a:prstGeom prst="curvedUp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50" dirty="0">
              <a:solidFill>
                <a:schemeClr val="tx1"/>
              </a:solidFill>
            </a:endParaRPr>
          </a:p>
        </p:txBody>
      </p:sp>
      <p:sp>
        <p:nvSpPr>
          <p:cNvPr id="102" name="Curved Up Arrow 101"/>
          <p:cNvSpPr/>
          <p:nvPr/>
        </p:nvSpPr>
        <p:spPr>
          <a:xfrm rot="10800000">
            <a:off x="2236469" y="2506154"/>
            <a:ext cx="4786242" cy="403412"/>
          </a:xfrm>
          <a:prstGeom prst="curvedUp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50" dirty="0">
              <a:solidFill>
                <a:schemeClr val="tx1"/>
              </a:solidFill>
            </a:endParaRPr>
          </a:p>
        </p:txBody>
      </p:sp>
      <p:sp>
        <p:nvSpPr>
          <p:cNvPr id="103" name="Curved Up Arrow 102"/>
          <p:cNvSpPr/>
          <p:nvPr/>
        </p:nvSpPr>
        <p:spPr>
          <a:xfrm>
            <a:off x="7041181" y="2792441"/>
            <a:ext cx="1756249" cy="736190"/>
          </a:xfrm>
          <a:prstGeom prst="curvedUp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50" dirty="0">
              <a:solidFill>
                <a:schemeClr val="tx1"/>
              </a:solidFill>
            </a:endParaRPr>
          </a:p>
        </p:txBody>
      </p:sp>
      <p:sp>
        <p:nvSpPr>
          <p:cNvPr id="104" name="Curved Up Arrow 103"/>
          <p:cNvSpPr/>
          <p:nvPr/>
        </p:nvSpPr>
        <p:spPr>
          <a:xfrm rot="10800000">
            <a:off x="6928307" y="2297684"/>
            <a:ext cx="1815536" cy="630274"/>
          </a:xfrm>
          <a:prstGeom prst="curvedUp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50" dirty="0">
              <a:solidFill>
                <a:schemeClr val="tx1"/>
              </a:solidFill>
            </a:endParaRPr>
          </a:p>
        </p:txBody>
      </p:sp>
      <p:sp>
        <p:nvSpPr>
          <p:cNvPr id="55" name="Chevron 54"/>
          <p:cNvSpPr/>
          <p:nvPr/>
        </p:nvSpPr>
        <p:spPr>
          <a:xfrm>
            <a:off x="6164112" y="2872587"/>
            <a:ext cx="1931711" cy="426629"/>
          </a:xfrm>
          <a:prstGeom prst="chevron">
            <a:avLst/>
          </a:prstGeom>
          <a:solidFill>
            <a:srgbClr val="7C76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50" dirty="0" err="1">
                <a:solidFill>
                  <a:schemeClr val="tx1"/>
                </a:solidFill>
              </a:rPr>
              <a:t>Insatsprojekt</a:t>
            </a:r>
            <a:endParaRPr lang="en-US" sz="1650" dirty="0">
              <a:solidFill>
                <a:schemeClr val="tx1"/>
              </a:solidFill>
            </a:endParaRPr>
          </a:p>
        </p:txBody>
      </p:sp>
      <p:sp>
        <p:nvSpPr>
          <p:cNvPr id="106" name="Rectangle 105"/>
          <p:cNvSpPr/>
          <p:nvPr/>
        </p:nvSpPr>
        <p:spPr>
          <a:xfrm>
            <a:off x="212560" y="2482883"/>
            <a:ext cx="600227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v-SE" sz="900" dirty="0"/>
              <a:t>EM</a:t>
            </a:r>
            <a:endParaRPr lang="en-US" sz="900" dirty="0"/>
          </a:p>
        </p:txBody>
      </p:sp>
      <p:sp>
        <p:nvSpPr>
          <p:cNvPr id="85" name="Chevron 84"/>
          <p:cNvSpPr/>
          <p:nvPr/>
        </p:nvSpPr>
        <p:spPr>
          <a:xfrm>
            <a:off x="3186857" y="2883941"/>
            <a:ext cx="1442734" cy="426629"/>
          </a:xfrm>
          <a:prstGeom prst="chevron">
            <a:avLst/>
          </a:prstGeom>
          <a:solidFill>
            <a:srgbClr val="7C76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50" dirty="0">
                <a:solidFill>
                  <a:schemeClr val="tx1"/>
                </a:solidFill>
              </a:rPr>
              <a:t>Dialog </a:t>
            </a:r>
            <a:r>
              <a:rPr lang="en-US" sz="1650" dirty="0" err="1">
                <a:solidFill>
                  <a:schemeClr val="tx1"/>
                </a:solidFill>
              </a:rPr>
              <a:t>insats</a:t>
            </a:r>
            <a:r>
              <a:rPr lang="en-US" sz="1650" dirty="0">
                <a:solidFill>
                  <a:schemeClr val="tx1"/>
                </a:solidFill>
              </a:rPr>
              <a:t> &amp; PL</a:t>
            </a:r>
          </a:p>
        </p:txBody>
      </p:sp>
      <p:sp>
        <p:nvSpPr>
          <p:cNvPr id="54" name="Chevron 53"/>
          <p:cNvSpPr/>
          <p:nvPr/>
        </p:nvSpPr>
        <p:spPr>
          <a:xfrm>
            <a:off x="4467929" y="2878067"/>
            <a:ext cx="1851879" cy="415668"/>
          </a:xfrm>
          <a:prstGeom prst="chevron">
            <a:avLst/>
          </a:prstGeom>
          <a:solidFill>
            <a:srgbClr val="7C76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50" dirty="0" err="1">
                <a:solidFill>
                  <a:schemeClr val="tx1"/>
                </a:solidFill>
              </a:rPr>
              <a:t>Förberedelse</a:t>
            </a:r>
            <a:r>
              <a:rPr lang="en-US" sz="1650" dirty="0">
                <a:solidFill>
                  <a:schemeClr val="tx1"/>
                </a:solidFill>
              </a:rPr>
              <a:t> </a:t>
            </a:r>
            <a:r>
              <a:rPr lang="en-US" sz="1650" dirty="0" err="1">
                <a:solidFill>
                  <a:schemeClr val="tx1"/>
                </a:solidFill>
              </a:rPr>
              <a:t>instasprojekt</a:t>
            </a:r>
            <a:endParaRPr lang="en-US" sz="165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50097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4110782"/>
              </p:ext>
            </p:extLst>
          </p:nvPr>
        </p:nvGraphicFramePr>
        <p:xfrm>
          <a:off x="1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382164958"/>
              </p:ext>
            </p:extLst>
          </p:nvPr>
        </p:nvGraphicFramePr>
        <p:xfrm>
          <a:off x="602457" y="560804"/>
          <a:ext cx="7569944" cy="43083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Ett insatsprojekt ska gå igenom en stegvis process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5C4A8B-80CE-41AF-9BEF-B1D9CF02D6AD}" type="datetime1">
              <a:rPr lang="sv-SE" smtClean="0"/>
              <a:t>2016-11-15</a:t>
            </a:fld>
            <a:endParaRPr lang="en-GB" dirty="0"/>
          </a:p>
        </p:txBody>
      </p:sp>
      <p:sp>
        <p:nvSpPr>
          <p:cNvPr id="9" name="Platshållare för innehåll 2"/>
          <p:cNvSpPr>
            <a:spLocks noGrp="1"/>
          </p:cNvSpPr>
          <p:nvPr>
            <p:ph idx="1"/>
          </p:nvPr>
        </p:nvSpPr>
        <p:spPr>
          <a:xfrm>
            <a:off x="602458" y="3225361"/>
            <a:ext cx="962938" cy="2329011"/>
          </a:xfrm>
          <a:ln w="28575">
            <a:solidFill>
              <a:srgbClr val="FDCA00"/>
            </a:solidFill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65485" indent="-65485">
              <a:lnSpc>
                <a:spcPct val="120000"/>
              </a:lnSpc>
              <a:spcAft>
                <a:spcPts val="450"/>
              </a:spcAft>
            </a:pPr>
            <a:r>
              <a:rPr lang="sv-SE" sz="1050" dirty="0"/>
              <a:t>Kategorisering</a:t>
            </a:r>
          </a:p>
          <a:p>
            <a:pPr marL="65485" indent="-65485">
              <a:lnSpc>
                <a:spcPct val="120000"/>
              </a:lnSpc>
              <a:spcAft>
                <a:spcPts val="450"/>
              </a:spcAft>
            </a:pPr>
            <a:r>
              <a:rPr lang="sv-SE" sz="1050" dirty="0"/>
              <a:t>Urvalskriterier</a:t>
            </a:r>
          </a:p>
          <a:p>
            <a:pPr marL="65485" indent="-65485">
              <a:lnSpc>
                <a:spcPct val="120000"/>
              </a:lnSpc>
              <a:spcAft>
                <a:spcPts val="450"/>
              </a:spcAft>
            </a:pPr>
            <a:r>
              <a:rPr lang="sv-SE" sz="1050" dirty="0"/>
              <a:t>Motivering av val</a:t>
            </a:r>
          </a:p>
          <a:p>
            <a:pPr marL="65485" indent="-65485">
              <a:lnSpc>
                <a:spcPct val="120000"/>
              </a:lnSpc>
              <a:spcAft>
                <a:spcPts val="450"/>
              </a:spcAft>
            </a:pPr>
            <a:r>
              <a:rPr lang="sv-SE" sz="1050" dirty="0"/>
              <a:t>Identifiering och kontakt-uppgifter</a:t>
            </a:r>
          </a:p>
          <a:p>
            <a:pPr marL="65485" indent="-65485">
              <a:lnSpc>
                <a:spcPct val="120000"/>
              </a:lnSpc>
              <a:spcAft>
                <a:spcPts val="450"/>
              </a:spcAft>
            </a:pPr>
            <a:r>
              <a:rPr lang="sv-SE" sz="1050" dirty="0"/>
              <a:t>Initiering kontakt</a:t>
            </a:r>
          </a:p>
        </p:txBody>
      </p:sp>
      <p:sp>
        <p:nvSpPr>
          <p:cNvPr id="10" name="Platshållare för innehåll 2"/>
          <p:cNvSpPr txBox="1">
            <a:spLocks/>
          </p:cNvSpPr>
          <p:nvPr/>
        </p:nvSpPr>
        <p:spPr>
          <a:xfrm>
            <a:off x="1947846" y="3225361"/>
            <a:ext cx="895963" cy="2329011"/>
          </a:xfrm>
          <a:prstGeom prst="rect">
            <a:avLst/>
          </a:prstGeom>
          <a:ln w="28575">
            <a:solidFill>
              <a:srgbClr val="FDCA00"/>
            </a:solidFill>
          </a:ln>
        </p:spPr>
        <p:txBody>
          <a:bodyPr vert="horz" lIns="0" tIns="0" rIns="0" bIns="0" rtlCol="0">
            <a:normAutofit/>
          </a:bodyPr>
          <a:lstStyle>
            <a:defPPr>
              <a:defRPr lang="sv-SE"/>
            </a:defPPr>
            <a:lvl1pPr marL="87313" indent="-87313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</a:lvl5pPr>
            <a:lvl6pPr marL="1296000" indent="-216000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</a:lvl6pPr>
            <a:lvl7pPr marL="1512000" indent="-216000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</a:lvl7pPr>
            <a:lvl8pPr marL="1728000" indent="-216000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</a:lvl8pPr>
            <a:lvl9pPr marL="1944000" indent="-216000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</a:lvl9pPr>
          </a:lstStyle>
          <a:p>
            <a:r>
              <a:rPr lang="sv-SE" sz="1050" dirty="0"/>
              <a:t>Värde-skapande för målgrupp</a:t>
            </a:r>
          </a:p>
          <a:p>
            <a:r>
              <a:rPr lang="sv-SE" sz="1050" dirty="0"/>
              <a:t>Effektmål projekt</a:t>
            </a:r>
          </a:p>
        </p:txBody>
      </p:sp>
      <p:sp>
        <p:nvSpPr>
          <p:cNvPr id="11" name="Platshållare för innehåll 2"/>
          <p:cNvSpPr txBox="1">
            <a:spLocks/>
          </p:cNvSpPr>
          <p:nvPr/>
        </p:nvSpPr>
        <p:spPr>
          <a:xfrm>
            <a:off x="3226259" y="3219534"/>
            <a:ext cx="913693" cy="2334838"/>
          </a:xfrm>
          <a:prstGeom prst="rect">
            <a:avLst/>
          </a:prstGeom>
          <a:ln w="28575">
            <a:solidFill>
              <a:srgbClr val="FDCA00"/>
            </a:solidFill>
          </a:ln>
        </p:spPr>
        <p:txBody>
          <a:bodyPr vert="horz" lIns="0" tIns="0" rIns="0" bIns="0" rtlCol="0">
            <a:normAutofit/>
          </a:bodyPr>
          <a:lstStyle>
            <a:defPPr>
              <a:defRPr lang="sv-SE"/>
            </a:defPPr>
            <a:lvl1pPr marL="87313" indent="-87313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</a:lvl5pPr>
            <a:lvl6pPr marL="1296000" indent="-216000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</a:lvl6pPr>
            <a:lvl7pPr marL="1512000" indent="-216000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</a:lvl7pPr>
            <a:lvl8pPr marL="1728000" indent="-216000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</a:lvl8pPr>
            <a:lvl9pPr marL="1944000" indent="-216000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</a:lvl9pPr>
          </a:lstStyle>
          <a:p>
            <a:r>
              <a:rPr lang="sv-SE" sz="1050" dirty="0"/>
              <a:t>Plan för </a:t>
            </a:r>
            <a:r>
              <a:rPr lang="sv-SE" sz="1050" dirty="0" err="1"/>
              <a:t>kommuni-kation</a:t>
            </a:r>
            <a:endParaRPr lang="sv-SE" sz="1050" dirty="0"/>
          </a:p>
          <a:p>
            <a:r>
              <a:rPr lang="sv-SE" sz="1050" dirty="0"/>
              <a:t>Riskhantering</a:t>
            </a:r>
          </a:p>
          <a:p>
            <a:r>
              <a:rPr lang="sv-SE" sz="1050" dirty="0"/>
              <a:t>Förutsättning ytterligare rådgivning</a:t>
            </a:r>
          </a:p>
        </p:txBody>
      </p:sp>
      <p:sp>
        <p:nvSpPr>
          <p:cNvPr id="13" name="Platshållare för innehåll 2"/>
          <p:cNvSpPr txBox="1">
            <a:spLocks/>
          </p:cNvSpPr>
          <p:nvPr/>
        </p:nvSpPr>
        <p:spPr>
          <a:xfrm>
            <a:off x="4592909" y="3219534"/>
            <a:ext cx="902845" cy="2334838"/>
          </a:xfrm>
          <a:prstGeom prst="rect">
            <a:avLst/>
          </a:prstGeom>
          <a:ln w="28575">
            <a:solidFill>
              <a:srgbClr val="FDCA00"/>
            </a:solidFill>
          </a:ln>
        </p:spPr>
        <p:txBody>
          <a:bodyPr vert="horz" lIns="0" tIns="0" rIns="0" bIns="0" rtlCol="0">
            <a:normAutofit/>
          </a:bodyPr>
          <a:lstStyle>
            <a:lvl1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9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1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2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44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5485" indent="-65485">
              <a:lnSpc>
                <a:spcPct val="120000"/>
              </a:lnSpc>
              <a:spcAft>
                <a:spcPts val="450"/>
              </a:spcAft>
            </a:pPr>
            <a:r>
              <a:rPr lang="sv-SE" sz="1050" dirty="0"/>
              <a:t>Rådgivning</a:t>
            </a:r>
          </a:p>
          <a:p>
            <a:pPr marL="65485" indent="-65485">
              <a:lnSpc>
                <a:spcPct val="120000"/>
              </a:lnSpc>
              <a:spcAft>
                <a:spcPts val="450"/>
              </a:spcAft>
            </a:pPr>
            <a:r>
              <a:rPr lang="sv-SE" sz="1050" dirty="0"/>
              <a:t>Kontakt med målgrupp</a:t>
            </a:r>
          </a:p>
          <a:p>
            <a:pPr marL="65485" indent="-65485">
              <a:lnSpc>
                <a:spcPct val="120000"/>
              </a:lnSpc>
              <a:spcAft>
                <a:spcPts val="450"/>
              </a:spcAft>
            </a:pPr>
            <a:r>
              <a:rPr lang="sv-SE" sz="1050" dirty="0" err="1"/>
              <a:t>Kommunika</a:t>
            </a:r>
            <a:r>
              <a:rPr lang="sv-SE" sz="1050" dirty="0"/>
              <a:t>-</a:t>
            </a:r>
            <a:r>
              <a:rPr lang="sv-SE" sz="1050" dirty="0" err="1"/>
              <a:t>tions</a:t>
            </a:r>
            <a:r>
              <a:rPr lang="sv-SE" sz="1050" dirty="0"/>
              <a:t>-aktiviteter</a:t>
            </a:r>
          </a:p>
        </p:txBody>
      </p:sp>
      <p:sp>
        <p:nvSpPr>
          <p:cNvPr id="14" name="Platshållare för innehåll 2"/>
          <p:cNvSpPr txBox="1">
            <a:spLocks/>
          </p:cNvSpPr>
          <p:nvPr/>
        </p:nvSpPr>
        <p:spPr>
          <a:xfrm>
            <a:off x="5945535" y="3219534"/>
            <a:ext cx="858713" cy="2297698"/>
          </a:xfrm>
          <a:prstGeom prst="rect">
            <a:avLst/>
          </a:prstGeom>
          <a:ln w="28575">
            <a:solidFill>
              <a:srgbClr val="FDCA00"/>
            </a:solidFill>
          </a:ln>
        </p:spPr>
        <p:txBody>
          <a:bodyPr vert="horz" lIns="0" tIns="0" rIns="0" bIns="0" rtlCol="0">
            <a:normAutofit/>
          </a:bodyPr>
          <a:lstStyle>
            <a:lvl1pPr marL="87313" indent="-87313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</a:lvl5pPr>
            <a:lvl6pPr marL="1296000" indent="-216000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</a:lvl6pPr>
            <a:lvl7pPr marL="1512000" indent="-216000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</a:lvl7pPr>
            <a:lvl8pPr marL="1728000" indent="-216000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</a:lvl8pPr>
            <a:lvl9pPr marL="1944000" indent="-216000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</a:lvl9pPr>
          </a:lstStyle>
          <a:p>
            <a:r>
              <a:rPr lang="sv-SE" sz="1050" dirty="0"/>
              <a:t>Uppföljning av resultat och effekter</a:t>
            </a:r>
          </a:p>
        </p:txBody>
      </p:sp>
      <p:sp>
        <p:nvSpPr>
          <p:cNvPr id="15" name="Platshållare för innehåll 2"/>
          <p:cNvSpPr txBox="1">
            <a:spLocks/>
          </p:cNvSpPr>
          <p:nvPr/>
        </p:nvSpPr>
        <p:spPr>
          <a:xfrm>
            <a:off x="7254028" y="3225361"/>
            <a:ext cx="918374" cy="2291871"/>
          </a:xfrm>
          <a:prstGeom prst="rect">
            <a:avLst/>
          </a:prstGeom>
          <a:ln w="28575">
            <a:solidFill>
              <a:srgbClr val="FDCA00"/>
            </a:solidFill>
          </a:ln>
        </p:spPr>
        <p:txBody>
          <a:bodyPr vert="horz" lIns="0" tIns="0" rIns="0" bIns="0" rtlCol="0">
            <a:normAutofit/>
          </a:bodyPr>
          <a:lstStyle>
            <a:lvl1pPr marL="87313" indent="-87313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</a:lvl5pPr>
            <a:lvl6pPr marL="1296000" indent="-216000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</a:lvl6pPr>
            <a:lvl7pPr marL="1512000" indent="-216000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</a:lvl7pPr>
            <a:lvl8pPr marL="1728000" indent="-216000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</a:lvl8pPr>
            <a:lvl9pPr marL="1944000" indent="-216000">
              <a:lnSpc>
                <a:spcPct val="100000"/>
              </a:lnSpc>
              <a:spcBef>
                <a:spcPts val="0"/>
              </a:spcBef>
              <a:buFont typeface="Arial" panose="00000500000000000000" pitchFamily="50" charset="0"/>
              <a:buChar char="–"/>
            </a:lvl9pPr>
          </a:lstStyle>
          <a:p>
            <a:r>
              <a:rPr lang="sv-SE" sz="1050" dirty="0"/>
              <a:t>Utvärdering av insatsen/ projektet</a:t>
            </a:r>
          </a:p>
        </p:txBody>
      </p:sp>
      <p:pic>
        <p:nvPicPr>
          <p:cNvPr id="16" name="Picture 2" descr="G:\Verksamhetsutveckling och stöd\Kommunikation\Gemensamma dokument\Baskommunikation\Baspresentationer om Energimyndigheten\Bas-PPT 2016\Grafik JPG 2016\Grafik JPG\A¦èrsredovisning_2015 Mönster_4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2440" y="476672"/>
            <a:ext cx="518761" cy="6225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latshållare för innehåll 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504" y="1628800"/>
            <a:ext cx="262716" cy="417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6315611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Grov tidsuppskattning per respektive EKR-funk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2457" y="5225615"/>
            <a:ext cx="7154917" cy="435634"/>
          </a:xfrm>
          <a:solidFill>
            <a:srgbClr val="FAB01B"/>
          </a:solidFill>
          <a:ln>
            <a:solidFill>
              <a:srgbClr val="FDCA00"/>
            </a:solidFill>
          </a:ln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sv-SE" sz="1400" dirty="0">
                <a:solidFill>
                  <a:schemeClr val="bg1"/>
                </a:solidFill>
              </a:rPr>
              <a:t>Tidsåtgången påverkas i hög utsträckning även av förkunskaper, ambitionsnivå samt hur </a:t>
            </a:r>
            <a:r>
              <a:rPr lang="sv-SE" sz="1400">
                <a:solidFill>
                  <a:schemeClr val="bg1"/>
                </a:solidFill>
              </a:rPr>
              <a:t>bra matchning det </a:t>
            </a:r>
            <a:r>
              <a:rPr lang="sv-SE" sz="1400" dirty="0">
                <a:solidFill>
                  <a:schemeClr val="bg1"/>
                </a:solidFill>
              </a:rPr>
              <a:t>är mellan insatsprojektet och </a:t>
            </a:r>
            <a:r>
              <a:rPr lang="sv-SE" sz="1400" dirty="0" err="1">
                <a:solidFill>
                  <a:schemeClr val="bg1"/>
                </a:solidFill>
              </a:rPr>
              <a:t>EKRs</a:t>
            </a:r>
            <a:r>
              <a:rPr lang="sv-SE" sz="1400" dirty="0">
                <a:solidFill>
                  <a:schemeClr val="bg1"/>
                </a:solidFill>
              </a:rPr>
              <a:t> ordinarie arbete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5C4A8B-80CE-41AF-9BEF-B1D9CF02D6AD}" type="datetime1">
              <a:rPr lang="sv-SE" smtClean="0"/>
              <a:t>2016-11-15</a:t>
            </a:fld>
            <a:endParaRPr lang="en-GB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3801198"/>
              </p:ext>
            </p:extLst>
          </p:nvPr>
        </p:nvGraphicFramePr>
        <p:xfrm>
          <a:off x="602456" y="2304667"/>
          <a:ext cx="7154918" cy="2866552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364222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21201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35079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4987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218437">
                <a:tc>
                  <a:txBody>
                    <a:bodyPr/>
                    <a:lstStyle/>
                    <a:p>
                      <a:pPr algn="l" fontAlgn="b"/>
                      <a:endParaRPr lang="sv-S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dirty="0" err="1">
                          <a:effectLst/>
                        </a:rPr>
                        <a:t>Light</a:t>
                      </a:r>
                      <a:endParaRPr lang="sv-S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dirty="0">
                          <a:effectLst/>
                        </a:rPr>
                        <a:t>Medium</a:t>
                      </a:r>
                      <a:endParaRPr lang="sv-S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dirty="0" err="1">
                          <a:effectLst/>
                        </a:rPr>
                        <a:t>Large</a:t>
                      </a:r>
                      <a:endParaRPr lang="sv-S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18437">
                <a:tc>
                  <a:txBody>
                    <a:bodyPr/>
                    <a:lstStyle/>
                    <a:p>
                      <a:pPr algn="l" fontAlgn="b"/>
                      <a:r>
                        <a:rPr lang="sv-SE" sz="1400" u="none" strike="noStrike" dirty="0">
                          <a:effectLst/>
                        </a:rPr>
                        <a:t>Ansökan</a:t>
                      </a:r>
                      <a:endParaRPr lang="sv-S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 dirty="0">
                          <a:effectLst/>
                        </a:rPr>
                        <a:t>4</a:t>
                      </a:r>
                      <a:endParaRPr lang="sv-SE" sz="14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>
                          <a:effectLst/>
                        </a:rPr>
                        <a:t>4</a:t>
                      </a:r>
                      <a:endParaRPr lang="sv-SE" sz="14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>
                          <a:effectLst/>
                        </a:rPr>
                        <a:t>4</a:t>
                      </a:r>
                      <a:endParaRPr lang="sv-SE" sz="14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18437">
                <a:tc>
                  <a:txBody>
                    <a:bodyPr/>
                    <a:lstStyle/>
                    <a:p>
                      <a:pPr algn="l" fontAlgn="b"/>
                      <a:r>
                        <a:rPr lang="sv-SE" sz="1400" u="none" strike="noStrike" dirty="0">
                          <a:effectLst/>
                        </a:rPr>
                        <a:t>Projektgemensam uppstart och avslut</a:t>
                      </a:r>
                      <a:endParaRPr lang="sv-S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 dirty="0">
                          <a:effectLst/>
                        </a:rPr>
                        <a:t>16</a:t>
                      </a:r>
                      <a:endParaRPr lang="sv-SE" sz="14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>
                          <a:effectLst/>
                        </a:rPr>
                        <a:t>20</a:t>
                      </a:r>
                      <a:endParaRPr lang="sv-SE" sz="14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>
                          <a:effectLst/>
                        </a:rPr>
                        <a:t>20</a:t>
                      </a:r>
                      <a:endParaRPr lang="sv-SE" sz="14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18437">
                <a:tc>
                  <a:txBody>
                    <a:bodyPr/>
                    <a:lstStyle/>
                    <a:p>
                      <a:pPr algn="l" fontAlgn="b"/>
                      <a:r>
                        <a:rPr lang="sv-SE" sz="1400" u="none" strike="noStrike" dirty="0">
                          <a:effectLst/>
                        </a:rPr>
                        <a:t>Möten/avstämningar</a:t>
                      </a:r>
                      <a:endParaRPr lang="sv-S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 dirty="0">
                          <a:effectLst/>
                        </a:rPr>
                        <a:t>8</a:t>
                      </a:r>
                      <a:endParaRPr lang="sv-SE" sz="14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 dirty="0">
                          <a:effectLst/>
                        </a:rPr>
                        <a:t>12</a:t>
                      </a:r>
                      <a:endParaRPr lang="sv-SE" sz="14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>
                          <a:effectLst/>
                        </a:rPr>
                        <a:t>16</a:t>
                      </a:r>
                      <a:endParaRPr lang="sv-SE" sz="14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18437">
                <a:tc>
                  <a:txBody>
                    <a:bodyPr/>
                    <a:lstStyle/>
                    <a:p>
                      <a:pPr algn="l" fontAlgn="b"/>
                      <a:r>
                        <a:rPr lang="sv-SE" sz="1400" u="none" strike="noStrike" dirty="0">
                          <a:effectLst/>
                        </a:rPr>
                        <a:t>Målsättning</a:t>
                      </a:r>
                      <a:endParaRPr lang="sv-S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>
                          <a:effectLst/>
                        </a:rPr>
                        <a:t>2</a:t>
                      </a:r>
                      <a:endParaRPr lang="sv-SE" sz="14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>
                          <a:effectLst/>
                        </a:rPr>
                        <a:t>6</a:t>
                      </a:r>
                      <a:endParaRPr lang="sv-SE" sz="14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>
                          <a:effectLst/>
                        </a:rPr>
                        <a:t>12</a:t>
                      </a:r>
                      <a:endParaRPr lang="sv-SE" sz="14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18437">
                <a:tc>
                  <a:txBody>
                    <a:bodyPr/>
                    <a:lstStyle/>
                    <a:p>
                      <a:pPr algn="l" fontAlgn="b"/>
                      <a:r>
                        <a:rPr lang="sv-SE" sz="1400" u="none" strike="noStrike" dirty="0">
                          <a:effectLst/>
                        </a:rPr>
                        <a:t>Riskanalys (görs gemensamt på uppstart)</a:t>
                      </a:r>
                      <a:endParaRPr lang="sv-S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>
                          <a:effectLst/>
                        </a:rPr>
                        <a:t>0</a:t>
                      </a:r>
                      <a:endParaRPr lang="sv-SE" sz="14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 dirty="0">
                          <a:effectLst/>
                        </a:rPr>
                        <a:t>0</a:t>
                      </a:r>
                      <a:endParaRPr lang="sv-SE" sz="14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>
                          <a:effectLst/>
                        </a:rPr>
                        <a:t>0</a:t>
                      </a:r>
                      <a:endParaRPr lang="sv-SE" sz="14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18437">
                <a:tc>
                  <a:txBody>
                    <a:bodyPr/>
                    <a:lstStyle/>
                    <a:p>
                      <a:pPr algn="l" fontAlgn="b"/>
                      <a:r>
                        <a:rPr lang="sv-SE" sz="1400" u="none" strike="noStrike" dirty="0">
                          <a:effectLst/>
                        </a:rPr>
                        <a:t>Målgruppsanalys</a:t>
                      </a:r>
                      <a:endParaRPr lang="sv-S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>
                          <a:effectLst/>
                        </a:rPr>
                        <a:t>2</a:t>
                      </a:r>
                      <a:endParaRPr lang="sv-SE" sz="14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>
                          <a:effectLst/>
                        </a:rPr>
                        <a:t>8</a:t>
                      </a:r>
                      <a:endParaRPr lang="sv-SE" sz="14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>
                          <a:effectLst/>
                        </a:rPr>
                        <a:t>16</a:t>
                      </a:r>
                      <a:endParaRPr lang="sv-SE" sz="14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18437">
                <a:tc>
                  <a:txBody>
                    <a:bodyPr/>
                    <a:lstStyle/>
                    <a:p>
                      <a:pPr algn="l" fontAlgn="b"/>
                      <a:r>
                        <a:rPr lang="sv-SE" sz="1400" u="none" strike="noStrike" kern="1200" dirty="0">
                          <a:effectLst/>
                        </a:rPr>
                        <a:t>Genomförande</a:t>
                      </a:r>
                      <a:endParaRPr lang="sv-SE" sz="14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>
                          <a:effectLst/>
                        </a:rPr>
                        <a:t>32</a:t>
                      </a:r>
                      <a:endParaRPr lang="sv-SE" sz="14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 dirty="0">
                          <a:effectLst/>
                        </a:rPr>
                        <a:t>80</a:t>
                      </a:r>
                      <a:endParaRPr lang="sv-SE" sz="14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>
                          <a:effectLst/>
                        </a:rPr>
                        <a:t>160</a:t>
                      </a:r>
                      <a:endParaRPr lang="sv-SE" sz="14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18437">
                <a:tc>
                  <a:txBody>
                    <a:bodyPr/>
                    <a:lstStyle/>
                    <a:p>
                      <a:pPr algn="l" fontAlgn="b"/>
                      <a:r>
                        <a:rPr lang="sv-SE" sz="1400" u="none" strike="noStrike" kern="1200" dirty="0">
                          <a:effectLst/>
                        </a:rPr>
                        <a:t>Resultatspridning/kommunikation</a:t>
                      </a:r>
                      <a:endParaRPr lang="sv-SE" sz="14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>
                          <a:effectLst/>
                        </a:rPr>
                        <a:t>4</a:t>
                      </a:r>
                      <a:endParaRPr lang="sv-SE" sz="14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 dirty="0">
                          <a:effectLst/>
                        </a:rPr>
                        <a:t>14</a:t>
                      </a:r>
                      <a:endParaRPr lang="sv-SE" sz="14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>
                          <a:effectLst/>
                        </a:rPr>
                        <a:t>14</a:t>
                      </a:r>
                      <a:endParaRPr lang="sv-SE" sz="14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18437">
                <a:tc>
                  <a:txBody>
                    <a:bodyPr/>
                    <a:lstStyle/>
                    <a:p>
                      <a:pPr algn="l" fontAlgn="b"/>
                      <a:r>
                        <a:rPr lang="sv-SE" sz="1400" u="none" strike="noStrike" dirty="0">
                          <a:effectLst/>
                        </a:rPr>
                        <a:t>Uppföljning</a:t>
                      </a:r>
                      <a:endParaRPr lang="sv-S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>
                          <a:effectLst/>
                        </a:rPr>
                        <a:t>10</a:t>
                      </a:r>
                      <a:endParaRPr lang="sv-SE" sz="14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 dirty="0">
                          <a:effectLst/>
                        </a:rPr>
                        <a:t>20</a:t>
                      </a:r>
                      <a:endParaRPr lang="sv-SE" sz="14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>
                          <a:effectLst/>
                        </a:rPr>
                        <a:t>36</a:t>
                      </a:r>
                      <a:endParaRPr lang="sv-SE" sz="14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18437">
                <a:tc>
                  <a:txBody>
                    <a:bodyPr/>
                    <a:lstStyle/>
                    <a:p>
                      <a:pPr algn="l" fontAlgn="b"/>
                      <a:r>
                        <a:rPr lang="sv-SE" sz="1400" u="none" strike="noStrike" dirty="0">
                          <a:effectLst/>
                        </a:rPr>
                        <a:t>Utvärdering</a:t>
                      </a:r>
                      <a:endParaRPr lang="sv-S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>
                          <a:effectLst/>
                        </a:rPr>
                        <a:t>2</a:t>
                      </a:r>
                      <a:endParaRPr lang="sv-SE" sz="14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>
                          <a:effectLst/>
                        </a:rPr>
                        <a:t>16</a:t>
                      </a:r>
                      <a:endParaRPr lang="sv-SE" sz="14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 dirty="0">
                          <a:effectLst/>
                        </a:rPr>
                        <a:t>22</a:t>
                      </a:r>
                      <a:endParaRPr lang="sv-SE" sz="14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18437">
                <a:tc>
                  <a:txBody>
                    <a:bodyPr/>
                    <a:lstStyle/>
                    <a:p>
                      <a:pPr algn="l" fontAlgn="b"/>
                      <a:endParaRPr lang="sv-S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sv-SE" sz="14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sv-SE" sz="14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sv-SE" sz="14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18437">
                <a:tc>
                  <a:txBody>
                    <a:bodyPr/>
                    <a:lstStyle/>
                    <a:p>
                      <a:pPr algn="l" fontAlgn="b"/>
                      <a:r>
                        <a:rPr lang="sv-SE" sz="1400" u="none" strike="noStrike" kern="1200" dirty="0">
                          <a:effectLst/>
                        </a:rPr>
                        <a:t>Totalt</a:t>
                      </a:r>
                      <a:endParaRPr lang="sv-SE" sz="14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>
                          <a:effectLst/>
                        </a:rPr>
                        <a:t>80</a:t>
                      </a:r>
                      <a:endParaRPr lang="sv-SE" sz="14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>
                          <a:effectLst/>
                        </a:rPr>
                        <a:t>180</a:t>
                      </a:r>
                      <a:endParaRPr lang="sv-SE" sz="14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400" u="none" strike="noStrike" kern="1200" dirty="0">
                          <a:effectLst/>
                        </a:rPr>
                        <a:t>300</a:t>
                      </a:r>
                      <a:endParaRPr lang="sv-SE" sz="14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/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</a:tbl>
          </a:graphicData>
        </a:graphic>
      </p:graphicFrame>
      <p:pic>
        <p:nvPicPr>
          <p:cNvPr id="10" name="Picture 2" descr="G:\Verksamhetsutveckling och stöd\Kommunikation\Gemensamma dokument\Baskommunikation\Baspresentationer om Energimyndigheten\Bas-PPT 2016\Grafik JPG 2016\Grafik JPG\A¦èrsredovisning_2015 Mönster_4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2440" y="476672"/>
            <a:ext cx="518761" cy="6225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latshållare för innehåll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504" y="1628800"/>
            <a:ext cx="262716" cy="417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Content Placeholder 2"/>
          <p:cNvSpPr txBox="1">
            <a:spLocks/>
          </p:cNvSpPr>
          <p:nvPr/>
        </p:nvSpPr>
        <p:spPr bwMode="auto">
          <a:xfrm>
            <a:off x="602456" y="5787653"/>
            <a:ext cx="7154917" cy="30564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40000"/>
              </a:spcBef>
              <a:spcAft>
                <a:spcPct val="0"/>
              </a:spcAft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98500" indent="-354013" algn="l" rtl="0" fontAlgn="base">
              <a:spcBef>
                <a:spcPct val="40000"/>
              </a:spcBef>
              <a:spcAft>
                <a:spcPct val="0"/>
              </a:spcAft>
              <a:buChar char="–"/>
              <a:defRPr sz="2600">
                <a:solidFill>
                  <a:schemeClr val="tx1"/>
                </a:solidFill>
                <a:latin typeface="+mn-lt"/>
              </a:defRPr>
            </a:lvl2pPr>
            <a:lvl3pPr marL="963613" indent="-263525" algn="l" rtl="0" fontAlgn="base">
              <a:spcBef>
                <a:spcPct val="4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214438" indent="-249238" algn="l" rtl="0" fontAlgn="base">
              <a:spcBef>
                <a:spcPct val="40000"/>
              </a:spcBef>
              <a:spcAft>
                <a:spcPct val="0"/>
              </a:spcAft>
              <a:buChar char="-"/>
              <a:defRPr sz="22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FontTx/>
              <a:buNone/>
            </a:pPr>
            <a:r>
              <a:rPr lang="sv-SE" sz="1400" kern="0" dirty="0">
                <a:solidFill>
                  <a:schemeClr val="bg1"/>
                </a:solidFill>
              </a:rPr>
              <a:t>Energimyndigheten avsätter en budget om ca 3 mkr för insatsprojektsatsningen</a:t>
            </a:r>
          </a:p>
        </p:txBody>
      </p:sp>
    </p:spTree>
    <p:extLst>
      <p:ext uri="{BB962C8B-B14F-4D97-AF65-F5344CB8AC3E}">
        <p14:creationId xmlns:p14="http://schemas.microsoft.com/office/powerpoint/2010/main" val="3705424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gLDeRveU.DhmGxidd94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H">
  <a:themeElements>
    <a:clrScheme name="Energimyndigheten Blå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3896"/>
      </a:accent1>
      <a:accent2>
        <a:srgbClr val="5D6DA2"/>
      </a:accent2>
      <a:accent3>
        <a:srgbClr val="8691B9"/>
      </a:accent3>
      <a:accent4>
        <a:srgbClr val="AEB6D1"/>
      </a:accent4>
      <a:accent5>
        <a:srgbClr val="B8DAEA"/>
      </a:accent5>
      <a:accent6>
        <a:srgbClr val="D2E5EE"/>
      </a:accent6>
      <a:hlink>
        <a:srgbClr val="8691B9"/>
      </a:hlink>
      <a:folHlink>
        <a:srgbClr val="AEB6D1"/>
      </a:folHlink>
    </a:clrScheme>
    <a:fontScheme name=" färg_m_punk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v-SE" sz="2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v-SE" sz="2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/>
</a:theme>
</file>

<file path=ppt/theme/theme2.xml><?xml version="1.0" encoding="utf-8"?>
<a:theme xmlns:a="http://schemas.openxmlformats.org/drawingml/2006/main" name="vit_m_punkt">
  <a:themeElements>
    <a:clrScheme name="Energimyndigheten Blå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3896"/>
      </a:accent1>
      <a:accent2>
        <a:srgbClr val="5D6DA2"/>
      </a:accent2>
      <a:accent3>
        <a:srgbClr val="8691B9"/>
      </a:accent3>
      <a:accent4>
        <a:srgbClr val="AEB6D1"/>
      </a:accent4>
      <a:accent5>
        <a:srgbClr val="B8DAEA"/>
      </a:accent5>
      <a:accent6>
        <a:srgbClr val="D2E5EE"/>
      </a:accent6>
      <a:hlink>
        <a:srgbClr val="8691B9"/>
      </a:hlink>
      <a:folHlink>
        <a:srgbClr val="AEB6D1"/>
      </a:folHlink>
    </a:clrScheme>
    <a:fontScheme name="färglös_m_punk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v-SE" sz="2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v-SE" sz="2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/>
</a:theme>
</file>

<file path=ppt/theme/theme3.xml><?xml version="1.0" encoding="utf-8"?>
<a:theme xmlns:a="http://schemas.openxmlformats.org/drawingml/2006/main" name="färg_U_punkt">
  <a:themeElements>
    <a:clrScheme name="Energimyndigheten Blå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3896"/>
      </a:accent1>
      <a:accent2>
        <a:srgbClr val="5D6DA2"/>
      </a:accent2>
      <a:accent3>
        <a:srgbClr val="8691B9"/>
      </a:accent3>
      <a:accent4>
        <a:srgbClr val="AEB6D1"/>
      </a:accent4>
      <a:accent5>
        <a:srgbClr val="B8DAEA"/>
      </a:accent5>
      <a:accent6>
        <a:srgbClr val="D2E5EE"/>
      </a:accent6>
      <a:hlink>
        <a:srgbClr val="8691B9"/>
      </a:hlink>
      <a:folHlink>
        <a:srgbClr val="AEB6D1"/>
      </a:folHlink>
    </a:clrScheme>
    <a:fontScheme name="färg_U_punk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v-SE" sz="2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v-SE" sz="2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/>
</a:theme>
</file>

<file path=ppt/theme/theme4.xml><?xml version="1.0" encoding="utf-8"?>
<a:theme xmlns:a="http://schemas.openxmlformats.org/drawingml/2006/main" name="vit_U_punkt">
  <a:themeElements>
    <a:clrScheme name="Energimyndigheten Blå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3896"/>
      </a:accent1>
      <a:accent2>
        <a:srgbClr val="5D6DA2"/>
      </a:accent2>
      <a:accent3>
        <a:srgbClr val="8691B9"/>
      </a:accent3>
      <a:accent4>
        <a:srgbClr val="AEB6D1"/>
      </a:accent4>
      <a:accent5>
        <a:srgbClr val="B8DAEA"/>
      </a:accent5>
      <a:accent6>
        <a:srgbClr val="D2E5EE"/>
      </a:accent6>
      <a:hlink>
        <a:srgbClr val="8691B9"/>
      </a:hlink>
      <a:folHlink>
        <a:srgbClr val="AEB6D1"/>
      </a:folHlink>
    </a:clrScheme>
    <a:fontScheme name="farglos_U_punk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v-SE" sz="2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v-SE" sz="2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/>
</a:theme>
</file>

<file path=ppt/theme/theme5.xml><?xml version="1.0" encoding="utf-8"?>
<a:theme xmlns:a="http://schemas.openxmlformats.org/drawingml/2006/main" name="Office-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-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EM_Dokument" ma:contentTypeID="0x0101005F3B3B166FD6422D88B267134623E61200771295798C66FD4B88791805CF6F3794" ma:contentTypeVersion="8" ma:contentTypeDescription="Skapa ett nytt dokument." ma:contentTypeScope="" ma:versionID="44b0df62eddfc9232958d49540cd9396">
  <xsd:schema xmlns:xsd="http://www.w3.org/2001/XMLSchema" xmlns:xs="http://www.w3.org/2001/XMLSchema" xmlns:p="http://schemas.microsoft.com/office/2006/metadata/properties" xmlns:ns2="da4f398e-0cbb-4cee-8bc8-2954fcef4716" xmlns:ns3="35359d16-f7cf-4480-aad9-be1e8fceebb8" targetNamespace="http://schemas.microsoft.com/office/2006/metadata/properties" ma:root="true" ma:fieldsID="91954f582b65415decaecb68372c34ee" ns2:_="" ns3:_="">
    <xsd:import namespace="da4f398e-0cbb-4cee-8bc8-2954fcef4716"/>
    <xsd:import namespace="35359d16-f7cf-4480-aad9-be1e8fceebb8"/>
    <xsd:element name="properties">
      <xsd:complexType>
        <xsd:sequence>
          <xsd:element name="documentManagement">
            <xsd:complexType>
              <xsd:all>
                <xsd:element ref="ns2:STEMMyndighetsnamn" minOccurs="0"/>
                <xsd:element ref="ns2:STEMBeskrivning"/>
                <xsd:element ref="ns2:STEMProcessTaxHTField0" minOccurs="0"/>
                <xsd:element ref="ns3:TaxCatchAll" minOccurs="0"/>
                <xsd:element ref="ns3:TaxCatchAllLabel" minOccurs="0"/>
                <xsd:element ref="ns2:STEMOrganisationTaxHTField0" minOccurs="0"/>
                <xsd:element ref="ns2:STEMInformationsklassTaxHTField0" minOccurs="0"/>
                <xsd:element ref="ns2:STEMForfattare" minOccurs="0"/>
                <xsd:element ref="ns2:STEMSkapatAv" minOccurs="0"/>
                <xsd:element ref="ns2:STEMAmneTaxHTField0" minOccurs="0"/>
                <xsd:element ref="ns3:TaxKeywordTaxHTField" minOccurs="0"/>
                <xsd:element ref="ns2:STEMBidragande" minOccurs="0"/>
                <xsd:element ref="ns2:STEMSprakTaxHTField0" minOccurs="0"/>
                <xsd:element ref="ns2:STEMBehorighetsregel" minOccurs="0"/>
                <xsd:element ref="ns2:STEMNewOrganisation" minOccurs="0"/>
                <xsd:element ref="ns2:Dokumenttyp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4f398e-0cbb-4cee-8bc8-2954fcef4716" elementFormDefault="qualified">
    <xsd:import namespace="http://schemas.microsoft.com/office/2006/documentManagement/types"/>
    <xsd:import namespace="http://schemas.microsoft.com/office/infopath/2007/PartnerControls"/>
    <xsd:element name="STEMMyndighetsnamn" ma:index="8" nillable="true" ma:displayName="Myndighetsnamn" ma:default="Energimyndigheten" ma:internalName="STEMMyndighetsnamn" ma:readOnly="true">
      <xsd:simpleType>
        <xsd:restriction base="dms:Text"/>
      </xsd:simpleType>
    </xsd:element>
    <xsd:element name="STEMBeskrivning" ma:index="9" ma:displayName="Beskrivning" ma:internalName="STEMBeskrivning" ma:readOnly="false">
      <xsd:simpleType>
        <xsd:restriction base="dms:Note"/>
      </xsd:simpleType>
    </xsd:element>
    <xsd:element name="STEMProcessTaxHTField0" ma:index="10" nillable="true" ma:taxonomy="true" ma:internalName="STEMProcessTaxHTField0" ma:taxonomyFieldName="STEMProcess" ma:displayName="Process (Används ej)" ma:readOnly="true" ma:fieldId="{31ee9918-fe17-4499-a134-e76a7564b818}" ma:sspId="1209bcd0-5856-4cae-807f-ceb1a11ed701" ma:termSetId="bfebcec9-b73f-49ca-a4fe-44a2ddc411f2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TEMOrganisationTaxHTField0" ma:index="14" nillable="true" ma:taxonomy="true" ma:internalName="STEMOrganisationTaxHTField0" ma:taxonomyFieldName="STEMOrganisation" ma:displayName="Organisation (Används ej)" ma:readOnly="true" ma:fieldId="{dbd771e0-57ed-4a1f-b495-5161947a4725}" ma:sspId="1209bcd0-5856-4cae-807f-ceb1a11ed701" ma:termSetId="da55768c-4fa3-4440-a06e-845702abe36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TEMInformationsklassTaxHTField0" ma:index="16" ma:taxonomy="true" ma:internalName="STEMInformationsklassTaxHTField0" ma:taxonomyFieldName="STEMInformationsklass" ma:displayName="Informationsklass" ma:readOnly="false" ma:default="12;#Ej sekretess|f6b508c3-2418-4a00-bdce-410e71819f98" ma:fieldId="{de526fac-1c9f-4b63-8cbf-f0395ce215f0}" ma:sspId="1209bcd0-5856-4cae-807f-ceb1a11ed701" ma:termSetId="9a98483a-c5a2-4ef0-b5bf-43befd258f5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TEMForfattare" ma:index="18" nillable="true" ma:displayName="Författare" ma:internalName="STEMForfattare" ma:readOnly="false">
      <xsd:simpleType>
        <xsd:restriction base="dms:Text"/>
      </xsd:simpleType>
    </xsd:element>
    <xsd:element name="STEMSkapatAv" ma:index="19" nillable="true" ma:displayName="Skapat av" ma:hidden="true" ma:internalName="STEMSkapatAv" ma:readOnly="tru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TEMAmneTaxHTField0" ma:index="20" nillable="true" ma:displayName="STEMAmneTaxHTField0" ma:hidden="true" ma:internalName="STEMAmneTaxHTField0">
      <xsd:simpleType>
        <xsd:restriction base="dms:Note"/>
      </xsd:simpleType>
    </xsd:element>
    <xsd:element name="STEMBidragande" ma:index="23" nillable="true" ma:displayName="Bidragande" ma:internalName="STEMBidragande" ma:readOnly="true">
      <xsd:simpleType>
        <xsd:restriction base="dms:Note"/>
      </xsd:simpleType>
    </xsd:element>
    <xsd:element name="STEMSprakTaxHTField0" ma:index="24" ma:taxonomy="true" ma:internalName="STEMSprakTaxHTField0" ma:taxonomyFieldName="STEMSprak" ma:displayName="Språk" ma:readOnly="false" ma:default="14;#Sv|984ba086-a62a-400a-9716-342255976432" ma:fieldId="{77e59423-35da-4a79-b936-16325de5d96f}" ma:sspId="1209bcd0-5856-4cae-807f-ceb1a11ed701" ma:termSetId="ae66b8f9-6d18-4403-8543-ac5ca329e7e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TEMBehorighetsregel" ma:index="26" nillable="true" ma:displayName="Annan behörighetsregel (Används ej)" ma:default="0" ma:hidden="true" ma:internalName="STEMBehorighetsregel" ma:readOnly="true">
      <xsd:simpleType>
        <xsd:restriction base="dms:Boolean"/>
      </xsd:simpleType>
    </xsd:element>
    <xsd:element name="STEMNewOrganisation" ma:index="27" nillable="true" ma:displayName="Organisation" ma:internalName="STEMNewOrganisation" ma:readOnly="true">
      <xsd:simpleType>
        <xsd:restriction base="dms:Note"/>
      </xsd:simpleType>
    </xsd:element>
    <xsd:element name="Dokumenttyp" ma:index="28" nillable="true" ma:displayName="Dokumenttyp" ma:format="Dropdown" ma:internalName="Dokumenttyp">
      <xsd:simpleType>
        <xsd:union memberTypes="dms:Text">
          <xsd:simpleType>
            <xsd:restriction base="dms:Choice">
              <xsd:enumeration value="Administration"/>
              <xsd:enumeration value="Ekonomi"/>
              <xsd:enumeration value="Möten"/>
            </xsd:restriction>
          </xsd:simpleType>
        </xsd:un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359d16-f7cf-4480-aad9-be1e8fceebb8" elementFormDefault="qualified">
    <xsd:import namespace="http://schemas.microsoft.com/office/2006/documentManagement/types"/>
    <xsd:import namespace="http://schemas.microsoft.com/office/infopath/2007/PartnerControls"/>
    <xsd:element name="TaxCatchAll" ma:index="11" nillable="true" ma:displayName="Taxonomy Catch All Column" ma:description="" ma:hidden="true" ma:list="{eae7fecc-b445-4421-9b8c-b88dba6c864a}" ma:internalName="TaxCatchAll" ma:showField="CatchAllData" ma:web="35359d16-f7cf-4480-aad9-be1e8fceebb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2" nillable="true" ma:displayName="Taxonomy Catch All Column1" ma:description="" ma:hidden="true" ma:list="{eae7fecc-b445-4421-9b8c-b88dba6c864a}" ma:internalName="TaxCatchAllLabel" ma:readOnly="true" ma:showField="CatchAllDataLabel" ma:web="35359d16-f7cf-4480-aad9-be1e8fceebb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21" nillable="true" ma:taxonomy="true" ma:internalName="TaxKeywordTaxHTField" ma:taxonomyFieldName="STEMAmne" ma:displayName="Ämne" ma:fieldId="{a0c56a30-0380-4bde-adc5-fe941768c8ba}" ma:taxonomyMulti="true" ma:sspId="1209bcd0-5856-4cae-807f-ceb1a11ed701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KeywordTaxHTField xmlns="35359d16-f7cf-4480-aad9-be1e8fceebb8">
      <Terms xmlns="http://schemas.microsoft.com/office/infopath/2007/PartnerControls"/>
    </TaxKeywordTaxHTField>
    <TaxCatchAll xmlns="35359d16-f7cf-4480-aad9-be1e8fceebb8">
      <Value>14</Value>
      <Value>12</Value>
    </TaxCatchAll>
    <STEMAmneTaxHTField0 xmlns="da4f398e-0cbb-4cee-8bc8-2954fcef4716" xsi:nil="true"/>
    <STEMInformationsklassTaxHTField0 xmlns="da4f398e-0cbb-4cee-8bc8-2954fcef4716">
      <Terms xmlns="http://schemas.microsoft.com/office/infopath/2007/PartnerControls">
        <TermInfo xmlns="http://schemas.microsoft.com/office/infopath/2007/PartnerControls">
          <TermName xmlns="http://schemas.microsoft.com/office/infopath/2007/PartnerControls">Ej sekretess</TermName>
          <TermId xmlns="http://schemas.microsoft.com/office/infopath/2007/PartnerControls">f6b508c3-2418-4a00-bdce-410e71819f98</TermId>
        </TermInfo>
      </Terms>
    </STEMInformationsklassTaxHTField0>
    <STEMBeskrivning xmlns="da4f398e-0cbb-4cee-8bc8-2954fcef4716">x</STEMBeskrivning>
    <STEMForfattare xmlns="da4f398e-0cbb-4cee-8bc8-2954fcef4716" xsi:nil="true"/>
    <STEMSprakTaxHTField0 xmlns="da4f398e-0cbb-4cee-8bc8-2954fcef4716">
      <Terms xmlns="http://schemas.microsoft.com/office/infopath/2007/PartnerControls">
        <TermInfo xmlns="http://schemas.microsoft.com/office/infopath/2007/PartnerControls">
          <TermName xmlns="http://schemas.microsoft.com/office/infopath/2007/PartnerControls">Sv</TermName>
          <TermId xmlns="http://schemas.microsoft.com/office/infopath/2007/PartnerControls">984ba086-a62a-400a-9716-342255976432</TermId>
        </TermInfo>
      </Terms>
    </STEMSprakTaxHTField0>
    <Dokumenttyp xmlns="da4f398e-0cbb-4cee-8bc8-2954fcef4716">Utlysning 2017</Dokumenttyp>
  </documentManagement>
</p:properties>
</file>

<file path=customXml/itemProps1.xml><?xml version="1.0" encoding="utf-8"?>
<ds:datastoreItem xmlns:ds="http://schemas.openxmlformats.org/officeDocument/2006/customXml" ds:itemID="{A46F1468-C6C7-48AE-8F22-C57183888F9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a4f398e-0cbb-4cee-8bc8-2954fcef4716"/>
    <ds:schemaRef ds:uri="35359d16-f7cf-4480-aad9-be1e8fceebb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67F148A-C368-4CEF-9011-E2CD334F051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B607A46-F587-4FD5-81E3-3C6260A9E4DF}">
  <ds:schemaRefs>
    <ds:schemaRef ds:uri="http://schemas.microsoft.com/office/2006/metadata/properties"/>
    <ds:schemaRef ds:uri="35359d16-f7cf-4480-aad9-be1e8fceebb8"/>
    <ds:schemaRef ds:uri="http://purl.org/dc/dcmitype/"/>
    <ds:schemaRef ds:uri="http://purl.org/dc/elements/1.1/"/>
    <ds:schemaRef ds:uri="http://schemas.microsoft.com/office/2006/documentManagement/types"/>
    <ds:schemaRef ds:uri="http://purl.org/dc/terms/"/>
    <ds:schemaRef ds:uri="da4f398e-0cbb-4cee-8bc8-2954fcef4716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H</Template>
  <TotalTime>1150</TotalTime>
  <Words>734</Words>
  <Application>Microsoft Office PowerPoint</Application>
  <PresentationFormat>Bildspel på skärmen (4:3)</PresentationFormat>
  <Paragraphs>213</Paragraphs>
  <Slides>9</Slides>
  <Notes>3</Notes>
  <HiddenSlides>0</HiddenSlides>
  <MMClips>0</MMClips>
  <ScaleCrop>false</ScaleCrop>
  <HeadingPairs>
    <vt:vector size="6" baseType="variant">
      <vt:variant>
        <vt:lpstr>Tema</vt:lpstr>
      </vt:variant>
      <vt:variant>
        <vt:i4>4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9</vt:i4>
      </vt:variant>
    </vt:vector>
  </HeadingPairs>
  <TitlesOfParts>
    <vt:vector size="14" baseType="lpstr">
      <vt:lpstr>OH</vt:lpstr>
      <vt:lpstr>vit_m_punkt</vt:lpstr>
      <vt:lpstr>färg_U_punkt</vt:lpstr>
      <vt:lpstr>vit_U_punkt</vt:lpstr>
      <vt:lpstr>think-cell Slide</vt:lpstr>
      <vt:lpstr>Insatsprojekt 2017</vt:lpstr>
      <vt:lpstr>Syfte och mål </vt:lpstr>
      <vt:lpstr>Utvalda temaområden för 2017 års insatsprojekt</vt:lpstr>
      <vt:lpstr>Urval och bedömning</vt:lpstr>
      <vt:lpstr>Urval och bedömning av funktionen insatsledning</vt:lpstr>
      <vt:lpstr>Projektorganisation Insatsprojekt 2017</vt:lpstr>
      <vt:lpstr>Grov tidslinje för insatsprojekten framåt</vt:lpstr>
      <vt:lpstr>Ett insatsprojekt ska gå igenom en stegvis process</vt:lpstr>
      <vt:lpstr>Grov tidsuppskattning per respektive EKR-funktion</vt:lpstr>
    </vt:vector>
  </TitlesOfParts>
  <Company>Energimyndighete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x</dc:title>
  <dc:creator>Charlotte Nording Gabrielsson</dc:creator>
  <dc:description>EM7000 v4.2 2011-05-21</dc:description>
  <cp:lastModifiedBy>Emil Eriksson</cp:lastModifiedBy>
  <cp:revision>101</cp:revision>
  <dcterms:created xsi:type="dcterms:W3CDTF">2016-09-19T09:10:00Z</dcterms:created>
  <dcterms:modified xsi:type="dcterms:W3CDTF">2016-11-15T14:01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F3B3B166FD6422D88B267134623E61200771295798C66FD4B88791805CF6F3794</vt:lpwstr>
  </property>
  <property fmtid="{D5CDD505-2E9C-101B-9397-08002B2CF9AE}" pid="3" name="STEMInformationsklass">
    <vt:lpwstr>12;#Ej sekretess|f6b508c3-2418-4a00-bdce-410e71819f98</vt:lpwstr>
  </property>
  <property fmtid="{D5CDD505-2E9C-101B-9397-08002B2CF9AE}" pid="4" name="STEMAmne">
    <vt:lpwstr/>
  </property>
  <property fmtid="{D5CDD505-2E9C-101B-9397-08002B2CF9AE}" pid="5" name="STEMSprak">
    <vt:lpwstr>14;#Sv|984ba086-a62a-400a-9716-342255976432</vt:lpwstr>
  </property>
</Properties>
</file>